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5"/>
  </p:notesMasterIdLst>
  <p:sldIdLst>
    <p:sldId id="558" r:id="rId2"/>
    <p:sldId id="532" r:id="rId3"/>
    <p:sldId id="531" r:id="rId4"/>
    <p:sldId id="709" r:id="rId5"/>
    <p:sldId id="720" r:id="rId6"/>
    <p:sldId id="715" r:id="rId7"/>
    <p:sldId id="716" r:id="rId8"/>
    <p:sldId id="717" r:id="rId9"/>
    <p:sldId id="718" r:id="rId10"/>
    <p:sldId id="562" r:id="rId11"/>
    <p:sldId id="553" r:id="rId12"/>
    <p:sldId id="556" r:id="rId13"/>
    <p:sldId id="560" r:id="rId14"/>
    <p:sldId id="554" r:id="rId15"/>
    <p:sldId id="710" r:id="rId16"/>
    <p:sldId id="561" r:id="rId17"/>
    <p:sldId id="557" r:id="rId18"/>
    <p:sldId id="711" r:id="rId19"/>
    <p:sldId id="719" r:id="rId20"/>
    <p:sldId id="712" r:id="rId21"/>
    <p:sldId id="434" r:id="rId22"/>
    <p:sldId id="442" r:id="rId23"/>
    <p:sldId id="428" r:id="rId24"/>
    <p:sldId id="437" r:id="rId25"/>
    <p:sldId id="445" r:id="rId26"/>
    <p:sldId id="444" r:id="rId27"/>
    <p:sldId id="438" r:id="rId28"/>
    <p:sldId id="439" r:id="rId29"/>
    <p:sldId id="410" r:id="rId30"/>
    <p:sldId id="411" r:id="rId31"/>
    <p:sldId id="412" r:id="rId32"/>
    <p:sldId id="413" r:id="rId33"/>
    <p:sldId id="462" r:id="rId34"/>
    <p:sldId id="266" r:id="rId35"/>
    <p:sldId id="450" r:id="rId36"/>
    <p:sldId id="451" r:id="rId37"/>
    <p:sldId id="452" r:id="rId38"/>
    <p:sldId id="453" r:id="rId39"/>
    <p:sldId id="454" r:id="rId40"/>
    <p:sldId id="455" r:id="rId41"/>
    <p:sldId id="449" r:id="rId42"/>
    <p:sldId id="461" r:id="rId43"/>
    <p:sldId id="456" r:id="rId44"/>
    <p:sldId id="457" r:id="rId45"/>
    <p:sldId id="463" r:id="rId46"/>
    <p:sldId id="501" r:id="rId47"/>
    <p:sldId id="344" r:id="rId48"/>
    <p:sldId id="346" r:id="rId49"/>
    <p:sldId id="348" r:id="rId50"/>
    <p:sldId id="502" r:id="rId51"/>
    <p:sldId id="345" r:id="rId52"/>
    <p:sldId id="347" r:id="rId53"/>
    <p:sldId id="351" r:id="rId54"/>
    <p:sldId id="503" r:id="rId55"/>
    <p:sldId id="352" r:id="rId56"/>
    <p:sldId id="354" r:id="rId57"/>
    <p:sldId id="355" r:id="rId58"/>
    <p:sldId id="357" r:id="rId59"/>
    <p:sldId id="358" r:id="rId60"/>
    <p:sldId id="504" r:id="rId61"/>
    <p:sldId id="539" r:id="rId62"/>
    <p:sldId id="360" r:id="rId63"/>
    <p:sldId id="362" r:id="rId64"/>
    <p:sldId id="536" r:id="rId65"/>
    <p:sldId id="533" r:id="rId66"/>
    <p:sldId id="365" r:id="rId67"/>
    <p:sldId id="537" r:id="rId68"/>
    <p:sldId id="534" r:id="rId69"/>
    <p:sldId id="540" r:id="rId70"/>
    <p:sldId id="543" r:id="rId71"/>
    <p:sldId id="544" r:id="rId72"/>
    <p:sldId id="542" r:id="rId73"/>
    <p:sldId id="369" r:id="rId74"/>
    <p:sldId id="538" r:id="rId75"/>
    <p:sldId id="535" r:id="rId76"/>
    <p:sldId id="547" r:id="rId77"/>
    <p:sldId id="545" r:id="rId78"/>
    <p:sldId id="546" r:id="rId79"/>
    <p:sldId id="370" r:id="rId80"/>
    <p:sldId id="371" r:id="rId81"/>
    <p:sldId id="505" r:id="rId82"/>
    <p:sldId id="375" r:id="rId83"/>
    <p:sldId id="376" r:id="rId84"/>
    <p:sldId id="374" r:id="rId85"/>
    <p:sldId id="377" r:id="rId86"/>
    <p:sldId id="378" r:id="rId87"/>
    <p:sldId id="373" r:id="rId88"/>
    <p:sldId id="506" r:id="rId89"/>
    <p:sldId id="326" r:id="rId90"/>
    <p:sldId id="464" r:id="rId91"/>
    <p:sldId id="327" r:id="rId92"/>
    <p:sldId id="372" r:id="rId93"/>
    <p:sldId id="458" r:id="rId94"/>
    <p:sldId id="465" r:id="rId95"/>
    <p:sldId id="507" r:id="rId96"/>
    <p:sldId id="379" r:id="rId97"/>
    <p:sldId id="380" r:id="rId98"/>
    <p:sldId id="302" r:id="rId99"/>
    <p:sldId id="508" r:id="rId100"/>
    <p:sldId id="382" r:id="rId101"/>
    <p:sldId id="383" r:id="rId102"/>
    <p:sldId id="385" r:id="rId103"/>
    <p:sldId id="467" r:id="rId104"/>
    <p:sldId id="509" r:id="rId105"/>
    <p:sldId id="387" r:id="rId106"/>
    <p:sldId id="388" r:id="rId107"/>
    <p:sldId id="390" r:id="rId108"/>
    <p:sldId id="391" r:id="rId109"/>
    <p:sldId id="548" r:id="rId110"/>
    <p:sldId id="468" r:id="rId111"/>
    <p:sldId id="469" r:id="rId112"/>
    <p:sldId id="392" r:id="rId113"/>
    <p:sldId id="393" r:id="rId114"/>
    <p:sldId id="510" r:id="rId115"/>
    <p:sldId id="394" r:id="rId116"/>
    <p:sldId id="395" r:id="rId117"/>
    <p:sldId id="386" r:id="rId118"/>
    <p:sldId id="511" r:id="rId119"/>
    <p:sldId id="397" r:id="rId120"/>
    <p:sldId id="398" r:id="rId121"/>
    <p:sldId id="396" r:id="rId122"/>
    <p:sldId id="512" r:id="rId123"/>
    <p:sldId id="400" r:id="rId124"/>
    <p:sldId id="401" r:id="rId125"/>
    <p:sldId id="399" r:id="rId126"/>
    <p:sldId id="513" r:id="rId127"/>
    <p:sldId id="403" r:id="rId128"/>
    <p:sldId id="404" r:id="rId129"/>
    <p:sldId id="402" r:id="rId130"/>
    <p:sldId id="459" r:id="rId131"/>
    <p:sldId id="515" r:id="rId132"/>
    <p:sldId id="514" r:id="rId133"/>
    <p:sldId id="306" r:id="rId134"/>
    <p:sldId id="470" r:id="rId135"/>
    <p:sldId id="550" r:id="rId136"/>
    <p:sldId id="516" r:id="rId137"/>
    <p:sldId id="317" r:id="rId138"/>
    <p:sldId id="471" r:id="rId139"/>
    <p:sldId id="319" r:id="rId140"/>
    <p:sldId id="472" r:id="rId141"/>
    <p:sldId id="320" r:id="rId142"/>
    <p:sldId id="517" r:id="rId143"/>
    <p:sldId id="316" r:id="rId144"/>
    <p:sldId id="473" r:id="rId145"/>
    <p:sldId id="551" r:id="rId146"/>
    <p:sldId id="518" r:id="rId147"/>
    <p:sldId id="313" r:id="rId148"/>
    <p:sldId id="474" r:id="rId149"/>
    <p:sldId id="315" r:id="rId150"/>
    <p:sldId id="475" r:id="rId151"/>
    <p:sldId id="321" r:id="rId152"/>
    <p:sldId id="519" r:id="rId153"/>
    <p:sldId id="322" r:id="rId154"/>
    <p:sldId id="476" r:id="rId155"/>
    <p:sldId id="324" r:id="rId156"/>
    <p:sldId id="520" r:id="rId157"/>
    <p:sldId id="328" r:id="rId158"/>
    <p:sldId id="477" r:id="rId159"/>
    <p:sldId id="329" r:id="rId160"/>
    <p:sldId id="478" r:id="rId161"/>
    <p:sldId id="479" r:id="rId162"/>
    <p:sldId id="480" r:id="rId163"/>
    <p:sldId id="481" r:id="rId164"/>
    <p:sldId id="330" r:id="rId165"/>
    <p:sldId id="409" r:id="rId166"/>
    <p:sldId id="528" r:id="rId167"/>
    <p:sldId id="488" r:id="rId168"/>
    <p:sldId id="484" r:id="rId169"/>
    <p:sldId id="526" r:id="rId170"/>
    <p:sldId id="525" r:id="rId171"/>
    <p:sldId id="552" r:id="rId172"/>
    <p:sldId id="460" r:id="rId173"/>
    <p:sldId id="487" r:id="rId174"/>
    <p:sldId id="521" r:id="rId175"/>
    <p:sldId id="489" r:id="rId176"/>
    <p:sldId id="483" r:id="rId177"/>
    <p:sldId id="332" r:id="rId178"/>
    <p:sldId id="490" r:id="rId179"/>
    <p:sldId id="333" r:id="rId180"/>
    <p:sldId id="491" r:id="rId181"/>
    <p:sldId id="334" r:id="rId182"/>
    <p:sldId id="335" r:id="rId183"/>
    <p:sldId id="492" r:id="rId184"/>
    <p:sldId id="338" r:id="rId185"/>
    <p:sldId id="522" r:id="rId186"/>
    <p:sldId id="341" r:id="rId187"/>
    <p:sldId id="493" r:id="rId188"/>
    <p:sldId id="342" r:id="rId189"/>
    <p:sldId id="494" r:id="rId190"/>
    <p:sldId id="343" r:id="rId191"/>
    <p:sldId id="340" r:id="rId192"/>
    <p:sldId id="523" r:id="rId193"/>
    <p:sldId id="336" r:id="rId194"/>
    <p:sldId id="495" r:id="rId195"/>
    <p:sldId id="337" r:id="rId196"/>
    <p:sldId id="339" r:id="rId197"/>
    <p:sldId id="496" r:id="rId198"/>
    <p:sldId id="497" r:id="rId199"/>
    <p:sldId id="446" r:id="rId200"/>
    <p:sldId id="447" r:id="rId201"/>
    <p:sldId id="482" r:id="rId202"/>
    <p:sldId id="421" r:id="rId203"/>
    <p:sldId id="422" r:id="rId204"/>
    <p:sldId id="423" r:id="rId205"/>
    <p:sldId id="424" r:id="rId206"/>
    <p:sldId id="425" r:id="rId207"/>
    <p:sldId id="498" r:id="rId208"/>
    <p:sldId id="417" r:id="rId209"/>
    <p:sldId id="418" r:id="rId210"/>
    <p:sldId id="419" r:id="rId211"/>
    <p:sldId id="499" r:id="rId212"/>
    <p:sldId id="407" r:id="rId213"/>
    <p:sldId id="524" r:id="rId2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5979"/>
    <a:srgbClr val="ECFC00"/>
    <a:srgbClr val="FFFF00"/>
    <a:srgbClr val="EA6B66"/>
    <a:srgbClr val="00994D"/>
    <a:srgbClr val="007FFF"/>
    <a:srgbClr val="993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56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534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slide" Target="slides/slide158.xml"/><Relationship Id="rId170" Type="http://schemas.openxmlformats.org/officeDocument/2006/relationships/slide" Target="slides/slide169.xml"/><Relationship Id="rId191" Type="http://schemas.openxmlformats.org/officeDocument/2006/relationships/slide" Target="slides/slide190.xml"/><Relationship Id="rId205" Type="http://schemas.openxmlformats.org/officeDocument/2006/relationships/slide" Target="slides/slide204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81" Type="http://schemas.openxmlformats.org/officeDocument/2006/relationships/slide" Target="slides/slide180.xml"/><Relationship Id="rId216" Type="http://schemas.openxmlformats.org/officeDocument/2006/relationships/presProps" Target="presProps.xml"/><Relationship Id="rId22" Type="http://schemas.openxmlformats.org/officeDocument/2006/relationships/slide" Target="slides/slide21.xml"/><Relationship Id="rId43" Type="http://schemas.openxmlformats.org/officeDocument/2006/relationships/slide" Target="slides/slide42.xml"/><Relationship Id="rId64" Type="http://schemas.openxmlformats.org/officeDocument/2006/relationships/slide" Target="slides/slide63.xml"/><Relationship Id="rId118" Type="http://schemas.openxmlformats.org/officeDocument/2006/relationships/slide" Target="slides/slide117.xml"/><Relationship Id="rId139" Type="http://schemas.openxmlformats.org/officeDocument/2006/relationships/slide" Target="slides/slide138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71" Type="http://schemas.openxmlformats.org/officeDocument/2006/relationships/slide" Target="slides/slide170.xml"/><Relationship Id="rId192" Type="http://schemas.openxmlformats.org/officeDocument/2006/relationships/slide" Target="slides/slide191.xml"/><Relationship Id="rId206" Type="http://schemas.openxmlformats.org/officeDocument/2006/relationships/slide" Target="slides/slide205.xml"/><Relationship Id="rId12" Type="http://schemas.openxmlformats.org/officeDocument/2006/relationships/slide" Target="slides/slide11.xml"/><Relationship Id="rId33" Type="http://schemas.openxmlformats.org/officeDocument/2006/relationships/slide" Target="slides/slide32.xml"/><Relationship Id="rId108" Type="http://schemas.openxmlformats.org/officeDocument/2006/relationships/slide" Target="slides/slide107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5" Type="http://schemas.openxmlformats.org/officeDocument/2006/relationships/slide" Target="slides/slide74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61" Type="http://schemas.openxmlformats.org/officeDocument/2006/relationships/slide" Target="slides/slide160.xml"/><Relationship Id="rId182" Type="http://schemas.openxmlformats.org/officeDocument/2006/relationships/slide" Target="slides/slide181.xml"/><Relationship Id="rId217" Type="http://schemas.openxmlformats.org/officeDocument/2006/relationships/viewProps" Target="viewProps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5" Type="http://schemas.openxmlformats.org/officeDocument/2006/relationships/slide" Target="slides/slide64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51" Type="http://schemas.openxmlformats.org/officeDocument/2006/relationships/slide" Target="slides/slide150.xml"/><Relationship Id="rId172" Type="http://schemas.openxmlformats.org/officeDocument/2006/relationships/slide" Target="slides/slide171.xml"/><Relationship Id="rId193" Type="http://schemas.openxmlformats.org/officeDocument/2006/relationships/slide" Target="slides/slide192.xml"/><Relationship Id="rId207" Type="http://schemas.openxmlformats.org/officeDocument/2006/relationships/slide" Target="slides/slide206.xml"/><Relationship Id="rId13" Type="http://schemas.openxmlformats.org/officeDocument/2006/relationships/slide" Target="slides/slide12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20" Type="http://schemas.openxmlformats.org/officeDocument/2006/relationships/slide" Target="slides/slide119.xml"/><Relationship Id="rId141" Type="http://schemas.openxmlformats.org/officeDocument/2006/relationships/slide" Target="slides/slide140.xml"/><Relationship Id="rId7" Type="http://schemas.openxmlformats.org/officeDocument/2006/relationships/slide" Target="slides/slide6.xml"/><Relationship Id="rId162" Type="http://schemas.openxmlformats.org/officeDocument/2006/relationships/slide" Target="slides/slide161.xml"/><Relationship Id="rId183" Type="http://schemas.openxmlformats.org/officeDocument/2006/relationships/slide" Target="slides/slide182.xml"/><Relationship Id="rId218" Type="http://schemas.openxmlformats.org/officeDocument/2006/relationships/theme" Target="theme/theme1.xml"/><Relationship Id="rId24" Type="http://schemas.openxmlformats.org/officeDocument/2006/relationships/slide" Target="slides/slide23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31" Type="http://schemas.openxmlformats.org/officeDocument/2006/relationships/slide" Target="slides/slide130.xml"/><Relationship Id="rId152" Type="http://schemas.openxmlformats.org/officeDocument/2006/relationships/slide" Target="slides/slide151.xml"/><Relationship Id="rId173" Type="http://schemas.openxmlformats.org/officeDocument/2006/relationships/slide" Target="slides/slide172.xml"/><Relationship Id="rId194" Type="http://schemas.openxmlformats.org/officeDocument/2006/relationships/slide" Target="slides/slide193.xml"/><Relationship Id="rId208" Type="http://schemas.openxmlformats.org/officeDocument/2006/relationships/slide" Target="slides/slide207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184" Type="http://schemas.openxmlformats.org/officeDocument/2006/relationships/slide" Target="slides/slide183.xml"/><Relationship Id="rId189" Type="http://schemas.openxmlformats.org/officeDocument/2006/relationships/slide" Target="slides/slide188.xml"/><Relationship Id="rId219" Type="http://schemas.openxmlformats.org/officeDocument/2006/relationships/tableStyles" Target="tableStyles.xml"/><Relationship Id="rId3" Type="http://schemas.openxmlformats.org/officeDocument/2006/relationships/slide" Target="slides/slide2.xml"/><Relationship Id="rId214" Type="http://schemas.openxmlformats.org/officeDocument/2006/relationships/slide" Target="slides/slide213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slide" Target="slides/slide173.xml"/><Relationship Id="rId179" Type="http://schemas.openxmlformats.org/officeDocument/2006/relationships/slide" Target="slides/slide178.xml"/><Relationship Id="rId195" Type="http://schemas.openxmlformats.org/officeDocument/2006/relationships/slide" Target="slides/slide194.xml"/><Relationship Id="rId209" Type="http://schemas.openxmlformats.org/officeDocument/2006/relationships/slide" Target="slides/slide208.xml"/><Relationship Id="rId190" Type="http://schemas.openxmlformats.org/officeDocument/2006/relationships/slide" Target="slides/slide189.xml"/><Relationship Id="rId204" Type="http://schemas.openxmlformats.org/officeDocument/2006/relationships/slide" Target="slides/slide203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185" Type="http://schemas.openxmlformats.org/officeDocument/2006/relationships/slide" Target="slides/slide18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80" Type="http://schemas.openxmlformats.org/officeDocument/2006/relationships/slide" Target="slides/slide179.xml"/><Relationship Id="rId210" Type="http://schemas.openxmlformats.org/officeDocument/2006/relationships/slide" Target="slides/slide209.xml"/><Relationship Id="rId215" Type="http://schemas.openxmlformats.org/officeDocument/2006/relationships/notesMaster" Target="notesMasters/notesMaster1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slide" Target="slides/slide153.xml"/><Relationship Id="rId175" Type="http://schemas.openxmlformats.org/officeDocument/2006/relationships/slide" Target="slides/slide174.xml"/><Relationship Id="rId196" Type="http://schemas.openxmlformats.org/officeDocument/2006/relationships/slide" Target="slides/slide195.xml"/><Relationship Id="rId200" Type="http://schemas.openxmlformats.org/officeDocument/2006/relationships/slide" Target="slides/slide199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Relationship Id="rId165" Type="http://schemas.openxmlformats.org/officeDocument/2006/relationships/slide" Target="slides/slide164.xml"/><Relationship Id="rId186" Type="http://schemas.openxmlformats.org/officeDocument/2006/relationships/slide" Target="slides/slide185.xml"/><Relationship Id="rId211" Type="http://schemas.openxmlformats.org/officeDocument/2006/relationships/slide" Target="slides/slide210.xml"/><Relationship Id="rId27" Type="http://schemas.openxmlformats.org/officeDocument/2006/relationships/slide" Target="slides/slide26.xml"/><Relationship Id="rId48" Type="http://schemas.openxmlformats.org/officeDocument/2006/relationships/slide" Target="slides/slide47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34" Type="http://schemas.openxmlformats.org/officeDocument/2006/relationships/slide" Target="slides/slide133.xml"/><Relationship Id="rId80" Type="http://schemas.openxmlformats.org/officeDocument/2006/relationships/slide" Target="slides/slide79.xml"/><Relationship Id="rId155" Type="http://schemas.openxmlformats.org/officeDocument/2006/relationships/slide" Target="slides/slide154.xml"/><Relationship Id="rId176" Type="http://schemas.openxmlformats.org/officeDocument/2006/relationships/slide" Target="slides/slide175.xml"/><Relationship Id="rId197" Type="http://schemas.openxmlformats.org/officeDocument/2006/relationships/slide" Target="slides/slide196.xml"/><Relationship Id="rId201" Type="http://schemas.openxmlformats.org/officeDocument/2006/relationships/slide" Target="slides/slide200.xml"/><Relationship Id="rId17" Type="http://schemas.openxmlformats.org/officeDocument/2006/relationships/slide" Target="slides/slide16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24" Type="http://schemas.openxmlformats.org/officeDocument/2006/relationships/slide" Target="slides/slide123.xml"/><Relationship Id="rId70" Type="http://schemas.openxmlformats.org/officeDocument/2006/relationships/slide" Target="slides/slide69.xml"/><Relationship Id="rId91" Type="http://schemas.openxmlformats.org/officeDocument/2006/relationships/slide" Target="slides/slide90.xml"/><Relationship Id="rId145" Type="http://schemas.openxmlformats.org/officeDocument/2006/relationships/slide" Target="slides/slide144.xml"/><Relationship Id="rId166" Type="http://schemas.openxmlformats.org/officeDocument/2006/relationships/slide" Target="slides/slide165.xml"/><Relationship Id="rId187" Type="http://schemas.openxmlformats.org/officeDocument/2006/relationships/slide" Target="slides/slide186.xml"/><Relationship Id="rId1" Type="http://schemas.openxmlformats.org/officeDocument/2006/relationships/slideMaster" Target="slideMasters/slideMaster1.xml"/><Relationship Id="rId212" Type="http://schemas.openxmlformats.org/officeDocument/2006/relationships/slide" Target="slides/slide211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60" Type="http://schemas.openxmlformats.org/officeDocument/2006/relationships/slide" Target="slides/slide59.xml"/><Relationship Id="rId81" Type="http://schemas.openxmlformats.org/officeDocument/2006/relationships/slide" Target="slides/slide80.xml"/><Relationship Id="rId135" Type="http://schemas.openxmlformats.org/officeDocument/2006/relationships/slide" Target="slides/slide134.xml"/><Relationship Id="rId156" Type="http://schemas.openxmlformats.org/officeDocument/2006/relationships/slide" Target="slides/slide155.xml"/><Relationship Id="rId177" Type="http://schemas.openxmlformats.org/officeDocument/2006/relationships/slide" Target="slides/slide176.xml"/><Relationship Id="rId198" Type="http://schemas.openxmlformats.org/officeDocument/2006/relationships/slide" Target="slides/slide197.xml"/><Relationship Id="rId202" Type="http://schemas.openxmlformats.org/officeDocument/2006/relationships/slide" Target="slides/slide201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50" Type="http://schemas.openxmlformats.org/officeDocument/2006/relationships/slide" Target="slides/slide49.xml"/><Relationship Id="rId104" Type="http://schemas.openxmlformats.org/officeDocument/2006/relationships/slide" Target="slides/slide103.xml"/><Relationship Id="rId125" Type="http://schemas.openxmlformats.org/officeDocument/2006/relationships/slide" Target="slides/slide124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188" Type="http://schemas.openxmlformats.org/officeDocument/2006/relationships/slide" Target="slides/slide187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13" Type="http://schemas.openxmlformats.org/officeDocument/2006/relationships/slide" Target="slides/slide212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40" Type="http://schemas.openxmlformats.org/officeDocument/2006/relationships/slide" Target="slides/slide39.xml"/><Relationship Id="rId115" Type="http://schemas.openxmlformats.org/officeDocument/2006/relationships/slide" Target="slides/slide114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slide" Target="slides/slide177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9" Type="http://schemas.openxmlformats.org/officeDocument/2006/relationships/slide" Target="slides/slide198.xml"/><Relationship Id="rId203" Type="http://schemas.openxmlformats.org/officeDocument/2006/relationships/slide" Target="slides/slide202.xml"/><Relationship Id="rId19" Type="http://schemas.openxmlformats.org/officeDocument/2006/relationships/slide" Target="slides/slide1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E62246-8680-4D4D-A3BD-0C5BFD468F61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5DA40C-4CFC-4D50-9A03-F1D1224C12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754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428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293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967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4901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252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84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61D77-3ABE-38BF-B7C3-14989A6F21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153CA9-6ED7-3E15-376B-07736DEF7F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A11C3-3334-5063-CC6D-DB12FF3472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5B980B-64CA-9093-9BFD-AA244B586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E2C3FC-709A-049B-F8AC-A84A38AB0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299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ADB7CC-D1DF-8402-05CD-408D973D8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9E2AF8-7D69-8083-9665-CBC50EF0EC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128C92-848E-7ACE-5612-E0B2C0270A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C9D5A-A351-1A4A-FC87-403669DFF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3931C7-44A0-A71C-0335-FAA9C59AE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018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1E5C6CC-BE2C-5CEF-4FEB-CC4CBF0368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1A8564-E15D-5FBE-63D3-BED8D2C7C8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B96AA1-55DF-FE30-1264-BEDB2CF81E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CB9A07-C1A2-53FB-88FD-0E7C9108B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62195F-069D-91D9-F576-AD9704D36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405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1C4EF-9466-F84E-C8C2-939AE2A679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644F28-9CD9-CB3C-2ED6-C649DE0773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6CB9FE-8444-CB0B-B3A1-1A29B9D82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285928-9D3F-1205-E206-1579E8D48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E4F71-C0B3-FF9B-4796-5298836A0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569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72E20-6BFF-0813-8C48-B84739AB3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34653B-3E11-1D09-C653-A0A6DDCC8A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DC7774-963D-4A97-988F-43DEE296A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92780-2D80-FAD5-33E5-A0A340C5F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5EDFA-A0F9-7513-AB08-04A562748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35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BC943-AF42-82C7-B01E-4F0A76F26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CE2C0E-95FB-80ED-727F-0759AE3FEB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858735-866E-8DDA-DCEF-8AD526B9B6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12F1DF-38B4-5FF5-7993-87B116FD1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37BE09-A63A-9E92-6149-852F96AC5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FD9DAF-1A93-B8D3-2311-D0EF80597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5930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F2B4C5-35EB-F51D-B1D0-A91F7265F3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B484EF-EA6F-1539-71CE-E16A5672B1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BBBF5D-78A7-6506-71DD-F0359CDBEC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226723-BB6D-B522-84A1-7B4A3C8D12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579E79-92E9-289E-A8B5-8E78E1671F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66562A5-3B4B-A153-3F7F-BF7A34764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D8F1D4-A09A-EE22-E671-0EF5F9A10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5DA612-A528-F1B8-0AA0-9AFE4C0C1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006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BE522-F5B4-B20E-F02E-62E27A6E4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D1D3F8-29A1-9A9B-9135-EC7992CD61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6170FE-48AE-7F32-4CF0-BDFA12811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7F5D0-FCFA-347C-6BB2-2B6CE2B9E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2542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F88693-7619-0619-624F-DA693D25F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ED4586-D6D3-1F39-D9BD-81B99A128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5A587-5A95-D242-5C42-57D163F20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017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54C56-54A7-BA47-2CDF-1549C18C1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FD79A9-8408-A31B-A983-16756B130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D0F4D5-64C1-9FE1-6AE9-9DABCE7BF0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599BF2-5177-2A26-24A2-307517C981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BE200A-7F75-D42A-2169-EBF235FFA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709896-4D6C-B437-4E82-6FAA302BE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738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BBEBD-7710-4394-EBF1-1DB5A39C8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FFED5-37A4-F6A9-F1D4-FD199D7057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0CEDA1-98BF-5C08-7125-E4FA930015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1E6A75-A6D5-94F7-8DD0-9CCF8211F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5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78D26-C6C0-1CE6-A085-EA9743C44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A07230-2147-96CD-8094-588A324A8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970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2E7D1F-DB6D-5A30-5C01-7EB572622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62ED89-E80F-E359-52C2-D0160F8111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48745-0EC5-38F9-644F-F839C8C53B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2060"/>
                </a:solidFill>
              </a:defRPr>
            </a:lvl1pPr>
          </a:lstStyle>
          <a:p>
            <a:fld id="{DE15CBC1-10D1-4E1D-B7D3-1A6D6027583C}" type="datetimeFigureOut">
              <a:rPr lang="en-US" smtClean="0"/>
              <a:pPr/>
              <a:t>5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0A0D8A-7823-BA5D-CAF1-BEA2C95437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EB159D-9A79-3B21-F22F-621E3A1725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2060"/>
                </a:solidFill>
              </a:defRPr>
            </a:lvl1pPr>
          </a:lstStyle>
          <a:p>
            <a:fld id="{2BEF4D1B-0DAD-4708-B884-1FAAE84297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22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2060"/>
          </a:solidFill>
          <a:latin typeface="Avenir Next LT Pro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code.visualstudio.com/download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www.jetbrains.com/pycharm/download/?section=windows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iterm2.com/downloads.html" TargetMode="External"/><Relationship Id="rId1" Type="http://schemas.openxmlformats.org/officeDocument/2006/relationships/slideLayout" Target="../slideLayouts/slideLayout2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www.python.org/downloads/" TargetMode="External"/><Relationship Id="rId1" Type="http://schemas.openxmlformats.org/officeDocument/2006/relationships/slideLayout" Target="../slideLayouts/slideLayout2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docs.anaconda.com/free/anaconda/install/" TargetMode="External"/><Relationship Id="rId1" Type="http://schemas.openxmlformats.org/officeDocument/2006/relationships/slideLayout" Target="../slideLayouts/slideLayout2.xml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0.png"/><Relationship Id="rId13" Type="http://schemas.openxmlformats.org/officeDocument/2006/relationships/image" Target="../media/image670.png"/><Relationship Id="rId3" Type="http://schemas.openxmlformats.org/officeDocument/2006/relationships/image" Target="../media/image580.png"/><Relationship Id="rId7" Type="http://schemas.openxmlformats.org/officeDocument/2006/relationships/image" Target="../media/image620.png"/><Relationship Id="rId12" Type="http://schemas.openxmlformats.org/officeDocument/2006/relationships/image" Target="../media/image66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00.png"/><Relationship Id="rId11" Type="http://schemas.openxmlformats.org/officeDocument/2006/relationships/image" Target="../media/image650.png"/><Relationship Id="rId5" Type="http://schemas.openxmlformats.org/officeDocument/2006/relationships/image" Target="../media/image590.png"/><Relationship Id="rId10" Type="http://schemas.openxmlformats.org/officeDocument/2006/relationships/image" Target="../media/image640.png"/><Relationship Id="rId4" Type="http://schemas.openxmlformats.org/officeDocument/2006/relationships/image" Target="../media/image581.png"/><Relationship Id="rId9" Type="http://schemas.openxmlformats.org/officeDocument/2006/relationships/image" Target="../media/image610.png"/><Relationship Id="rId14" Type="http://schemas.openxmlformats.org/officeDocument/2006/relationships/image" Target="../media/image680.png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0.png"/><Relationship Id="rId2" Type="http://schemas.openxmlformats.org/officeDocument/2006/relationships/image" Target="../media/image69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30.png"/><Relationship Id="rId5" Type="http://schemas.openxmlformats.org/officeDocument/2006/relationships/image" Target="../media/image720.png"/><Relationship Id="rId4" Type="http://schemas.openxmlformats.org/officeDocument/2006/relationships/image" Target="../media/image7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1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11.jpeg"/><Relationship Id="rId7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.png"/><Relationship Id="rId4" Type="http://schemas.openxmlformats.org/officeDocument/2006/relationships/image" Target="../media/image9.jpeg"/></Relationships>
</file>

<file path=ppt/slides/_rels/slide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4.png"/><Relationship Id="rId4" Type="http://schemas.openxmlformats.org/officeDocument/2006/relationships/image" Target="../media/image81.png"/></Relationships>
</file>

<file path=ppt/slides/_rels/slide1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/Relationships>
</file>

<file path=ppt/slides/_rels/slide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2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7.xml"/></Relationships>
</file>

<file path=ppt/slides/_rels/slide2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6.xml"/><Relationship Id="rId7" Type="http://schemas.openxmlformats.org/officeDocument/2006/relationships/image" Target="../media/image1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1.jpeg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jpe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9.xml"/><Relationship Id="rId7" Type="http://schemas.openxmlformats.org/officeDocument/2006/relationships/image" Target="../media/image11.jpeg"/><Relationship Id="rId12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.jpeg"/><Relationship Id="rId4" Type="http://schemas.openxmlformats.org/officeDocument/2006/relationships/tags" Target="../tags/tag10.xml"/><Relationship Id="rId9" Type="http://schemas.openxmlformats.org/officeDocument/2006/relationships/image" Target="../media/image9.jpeg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9.jpeg"/><Relationship Id="rId3" Type="http://schemas.openxmlformats.org/officeDocument/2006/relationships/tags" Target="../tags/tag13.xml"/><Relationship Id="rId7" Type="http://schemas.openxmlformats.org/officeDocument/2006/relationships/notesSlide" Target="../notesSlides/notesSlide6.xml"/><Relationship Id="rId12" Type="http://schemas.openxmlformats.org/officeDocument/2006/relationships/image" Target="../media/image12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1.jpeg"/><Relationship Id="rId5" Type="http://schemas.openxmlformats.org/officeDocument/2006/relationships/tags" Target="../tags/tag15.xml"/><Relationship Id="rId10" Type="http://schemas.openxmlformats.org/officeDocument/2006/relationships/image" Target="../media/image14.png"/><Relationship Id="rId4" Type="http://schemas.openxmlformats.org/officeDocument/2006/relationships/tags" Target="../tags/tag14.xml"/><Relationship Id="rId9" Type="http://schemas.openxmlformats.org/officeDocument/2006/relationships/image" Target="../media/image13.png"/><Relationship Id="rId14" Type="http://schemas.openxmlformats.org/officeDocument/2006/relationships/image" Target="../media/image10.jpe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4000">
              <a:srgbClr val="195979"/>
            </a:gs>
            <a:gs pos="40000">
              <a:srgbClr val="071C27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2D082-5364-76A3-B949-AFCDD7830B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1341" y="891652"/>
            <a:ext cx="10369319" cy="1796130"/>
          </a:xfrm>
        </p:spPr>
        <p:txBody>
          <a:bodyPr anchor="b">
            <a:normAutofit fontScale="90000"/>
          </a:bodyPr>
          <a:lstStyle/>
          <a:p>
            <a:r>
              <a:rPr lang="en-US" sz="3600" b="1" dirty="0">
                <a:solidFill>
                  <a:srgbClr val="ECFC00"/>
                </a:solidFill>
                <a:latin typeface="+mn-lt"/>
              </a:rPr>
              <a:t>Part II </a:t>
            </a:r>
            <a:r>
              <a:rPr lang="en-US" sz="3600" b="1" dirty="0">
                <a:solidFill>
                  <a:srgbClr val="FFFFFF"/>
                </a:solidFill>
                <a:latin typeface="+mn-lt"/>
              </a:rPr>
              <a:t>- Implementing Transformer from Scratch</a:t>
            </a:r>
            <a:br>
              <a:rPr lang="en-US" sz="3600" b="1" dirty="0">
                <a:solidFill>
                  <a:srgbClr val="FFFFFF"/>
                </a:solidFill>
                <a:latin typeface="+mn-lt"/>
              </a:rPr>
            </a:br>
            <a:r>
              <a:rPr lang="en-US" sz="3600" dirty="0">
                <a:solidFill>
                  <a:srgbClr val="FFFFFF"/>
                </a:solidFill>
                <a:latin typeface="+mn-lt"/>
              </a:rPr>
              <a:t>with</a:t>
            </a:r>
            <a:r>
              <a:rPr lang="en-US" sz="3600" b="1" dirty="0">
                <a:solidFill>
                  <a:srgbClr val="FFFFFF"/>
                </a:solidFill>
                <a:latin typeface="+mn-lt"/>
              </a:rPr>
              <a:t> </a:t>
            </a:r>
            <a:br>
              <a:rPr lang="en-US" sz="3600" b="1" dirty="0">
                <a:solidFill>
                  <a:srgbClr val="FFFFFF"/>
                </a:solidFill>
                <a:latin typeface="+mn-lt"/>
              </a:rPr>
            </a:br>
            <a:r>
              <a:rPr lang="en-US" sz="3600" b="1" dirty="0">
                <a:solidFill>
                  <a:srgbClr val="FFFFFF"/>
                </a:solidFill>
                <a:latin typeface="+mn-lt"/>
              </a:rPr>
              <a:t>Python &amp; </a:t>
            </a:r>
            <a:r>
              <a:rPr lang="en-US" sz="3600" b="1" dirty="0" err="1">
                <a:solidFill>
                  <a:srgbClr val="FFFFFF"/>
                </a:solidFill>
                <a:latin typeface="+mn-lt"/>
              </a:rPr>
              <a:t>PyTorch</a:t>
            </a:r>
            <a:r>
              <a:rPr lang="en-US" sz="3600" b="1" dirty="0">
                <a:solidFill>
                  <a:srgbClr val="FFFFFF"/>
                </a:solidFill>
                <a:latin typeface="+mn-lt"/>
              </a:rPr>
              <a:t> </a:t>
            </a:r>
          </a:p>
        </p:txBody>
      </p:sp>
      <p:pic>
        <p:nvPicPr>
          <p:cNvPr id="4" name="Picture 3" descr="A blue and yellow snake logo&#10;&#10;Description automatically generated">
            <a:extLst>
              <a:ext uri="{FF2B5EF4-FFF2-40B4-BE49-F238E27FC236}">
                <a16:creationId xmlns:a16="http://schemas.microsoft.com/office/drawing/2014/main" id="{93A6C620-DEFA-8190-5D96-4D3CCB772C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524" y="4435807"/>
            <a:ext cx="1047985" cy="1153278"/>
          </a:xfrm>
          <a:prstGeom prst="rect">
            <a:avLst/>
          </a:prstGeom>
        </p:spPr>
      </p:pic>
      <p:pic>
        <p:nvPicPr>
          <p:cNvPr id="5" name="Picture 4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5DED97BF-9F02-BF90-17DD-2CFF937696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698" y="4341009"/>
            <a:ext cx="955779" cy="1160785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AF088BF9-AB07-AB82-93C3-C22A14AC0DE7}"/>
              </a:ext>
            </a:extLst>
          </p:cNvPr>
          <p:cNvSpPr txBox="1">
            <a:spLocks/>
          </p:cNvSpPr>
          <p:nvPr/>
        </p:nvSpPr>
        <p:spPr>
          <a:xfrm>
            <a:off x="4817583" y="3222771"/>
            <a:ext cx="2556834" cy="453302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4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gradFill>
                  <a:gsLst>
                    <a:gs pos="29000">
                      <a:srgbClr val="00B0F0"/>
                    </a:gs>
                    <a:gs pos="85000">
                      <a:srgbClr val="ECFC00"/>
                    </a:gs>
                  </a:gsLst>
                  <a:lin ang="2700000" scaled="0"/>
                </a:gradFill>
              </a:rPr>
              <a:t>Quang Duong</a:t>
            </a:r>
          </a:p>
        </p:txBody>
      </p:sp>
    </p:spTree>
    <p:extLst>
      <p:ext uri="{BB962C8B-B14F-4D97-AF65-F5344CB8AC3E}">
        <p14:creationId xmlns:p14="http://schemas.microsoft.com/office/powerpoint/2010/main" val="9210017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r>
              <a:rPr lang="en-US" b="1" dirty="0"/>
              <a:t>VS Code (</a:t>
            </a:r>
            <a:r>
              <a:rPr lang="en-US" b="1" dirty="0">
                <a:hlinkClick r:id="rId2"/>
              </a:rPr>
              <a:t>https://code.visualstudio.com/download</a:t>
            </a:r>
            <a:r>
              <a:rPr lang="en-US" b="1" dirty="0"/>
              <a:t>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BF059D-0948-4B50-CD90-E3694E81AB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5526" y="2440523"/>
            <a:ext cx="7675478" cy="3936849"/>
          </a:xfrm>
          <a:prstGeom prst="rect">
            <a:avLst/>
          </a:prstGeom>
        </p:spPr>
      </p:pic>
      <p:pic>
        <p:nvPicPr>
          <p:cNvPr id="2052" name="Picture 4" descr="Visual Studio Code - Code Editing. Redefined">
            <a:extLst>
              <a:ext uri="{FF2B5EF4-FFF2-40B4-BE49-F238E27FC236}">
                <a16:creationId xmlns:a16="http://schemas.microsoft.com/office/drawing/2014/main" id="{CDD89093-E484-4A54-D43A-C70E763D7C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89" y="3597441"/>
            <a:ext cx="5054534" cy="2527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200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2972D2-4D11-9783-0CDA-30813DA84D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04F22A4-2272-9F09-1852-25127761C164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Positional Encod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25881E-1B29-6C54-BB25-CE6B25746593}"/>
              </a:ext>
            </a:extLst>
          </p:cNvPr>
          <p:cNvSpPr/>
          <p:nvPr/>
        </p:nvSpPr>
        <p:spPr>
          <a:xfrm>
            <a:off x="241421" y="658813"/>
            <a:ext cx="11716281" cy="617844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F2D450-8DD5-91A6-1436-2BC72A3B507A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B6C857-4866-B50C-E255-C852793774FD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yer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8544453-B132-244B-A738-204DCB3AFB3A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022DAC1-5167-D852-1398-B5DFF241676F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A70B8CC-67BB-3320-7611-BC42DFA7FDB9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C2780EC1-0E35-79F1-C7A9-6A057313D4DB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48CCF38-AF7D-61A7-1051-245AD5C5894A}"/>
              </a:ext>
            </a:extLst>
          </p:cNvPr>
          <p:cNvSpPr txBox="1"/>
          <p:nvPr/>
        </p:nvSpPr>
        <p:spPr>
          <a:xfrm>
            <a:off x="295541" y="1204946"/>
            <a:ext cx="11662161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endParaRPr lang="en-US" b="0" dirty="0">
              <a:solidFill>
                <a:srgbClr val="FFC600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9D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ositionalEnco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ropout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ompute the positional encodings once in log space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position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rang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typ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nsquee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base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0000.0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*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.0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iv_ter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ow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rang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)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ompute the positional encodings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pe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zero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: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i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osition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iv_ter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: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o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osition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iv_ter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pe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e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nsquee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Register the positional encodings as a buffer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gister_buff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p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025AC5B2-C65E-972A-C8DD-94B5F67F5A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673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49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0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90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1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6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10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20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75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26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696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781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866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956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298B91-163D-7051-C3C7-B97046A947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CE8A79F-4777-16E9-03CB-D79B8A60B9F4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Positional Encod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573E4C-3C23-9438-B75F-DED2A272F017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B3CBA3-9D7C-0232-3B86-B384E0C2B4CA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50A195-5DC4-DAD4-331F-2BCA9FF44011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yer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8288EB4-052F-EDA7-A65C-4B27C9A7E0EC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1620795-447E-D758-1BAF-1A2FBEB8975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E67D7B9B-9A54-BAD9-DC63-51940ACB6248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E7DD6F0-7F05-21B6-D0F1-89A24E279DD8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7D5F863-B57B-EBFD-1955-F1737B43C613}"/>
              </a:ext>
            </a:extLst>
          </p:cNvPr>
          <p:cNvSpPr txBox="1"/>
          <p:nvPr/>
        </p:nvSpPr>
        <p:spPr>
          <a:xfrm>
            <a:off x="295541" y="1204946"/>
            <a:ext cx="11662161" cy="258532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ward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x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embeded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sequence)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dd the positional encodings to the input embeddings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hen apply dropout to the resul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: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])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equires_grad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Fal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elf.pe[:, :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x.shap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[1], :] is to adapt the shape of decoder input in case of 	training or inferenc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0768DCCA-36BA-58BE-BE76-1EB8CE10F5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673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1614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3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8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20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35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7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36301C-357B-BF48-454B-150ABFBC5A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054445D-5490-538D-39E1-4C5BD95F85DF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Positional Encod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702D94-E3E9-2D79-6F7A-38C010685C91}"/>
              </a:ext>
            </a:extLst>
          </p:cNvPr>
          <p:cNvSpPr/>
          <p:nvPr/>
        </p:nvSpPr>
        <p:spPr>
          <a:xfrm>
            <a:off x="234297" y="658811"/>
            <a:ext cx="11792860" cy="61317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9C2AAD-FEC5-822D-A4B4-607EDF19BCB5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763F4ED-657B-AE58-E776-D05FD938520B}"/>
              </a:ext>
            </a:extLst>
          </p:cNvPr>
          <p:cNvSpPr/>
          <p:nvPr/>
        </p:nvSpPr>
        <p:spPr>
          <a:xfrm>
            <a:off x="1382312" y="658812"/>
            <a:ext cx="4713688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positional_encoding.ipynb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1258140-41CB-90F2-D223-64D725097936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ED80FD4-CFF2-FA7A-5699-7EFABE78DE74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E115802-13CB-F1EE-A7E8-E17853C7B759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2AAFCD2-666A-AB5A-EF5F-1276E86D4EC1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78B6781-431B-199B-B23C-05652CBC7455}"/>
              </a:ext>
            </a:extLst>
          </p:cNvPr>
          <p:cNvSpPr txBox="1"/>
          <p:nvPr/>
        </p:nvSpPr>
        <p:spPr>
          <a:xfrm>
            <a:off x="295541" y="1158291"/>
            <a:ext cx="7018831" cy="535531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ositionalEncodin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t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parammeter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our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PositionalEncoding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cla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os_encoding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ositionalEnco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 random embedded sequenc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reproducible resul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2C286C-B35E-55D8-553E-4359A02006FC}"/>
              </a:ext>
            </a:extLst>
          </p:cNvPr>
          <p:cNvSpPr txBox="1"/>
          <p:nvPr/>
        </p:nvSpPr>
        <p:spPr>
          <a:xfrm>
            <a:off x="7125617" y="1249310"/>
            <a:ext cx="4901539" cy="230832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ss our sequences through the positional encodin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ositional_featur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os_enco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positional_feature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ositional_featur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positional_feature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ositional_feature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1513055-6EC3-BB91-C8A6-3B8D430A0D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618" y="3875786"/>
            <a:ext cx="4832086" cy="1145126"/>
          </a:xfrm>
          <a:prstGeom prst="rect">
            <a:avLst/>
          </a:prstGeom>
          <a:ln>
            <a:solidFill>
              <a:srgbClr val="00994D"/>
            </a:solidFill>
          </a:ln>
        </p:spPr>
      </p:pic>
      <p:pic>
        <p:nvPicPr>
          <p:cNvPr id="3" name="Picture 2" descr="Project Jupyter - Wikipedia">
            <a:extLst>
              <a:ext uri="{FF2B5EF4-FFF2-40B4-BE49-F238E27FC236}">
                <a16:creationId xmlns:a16="http://schemas.microsoft.com/office/drawing/2014/main" id="{5B923EAE-4FD4-4BED-84F3-569FCACE1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0734" y="684549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5968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5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9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10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30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40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76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1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6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31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16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1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966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67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318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7DE31D-202C-EA21-FA07-3B6C2534E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2128632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ECA6A3-16CE-E3C8-7309-186A971C6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350BF1-D898-BAFF-EF8C-322ABEAD5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building block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E45FE76C-0047-309D-B48B-1EC4211CBC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CFA59EFE-A75E-9471-189F-63A7E0FC2D45}"/>
              </a:ext>
            </a:extLst>
          </p:cNvPr>
          <p:cNvSpPr/>
          <p:nvPr/>
        </p:nvSpPr>
        <p:spPr>
          <a:xfrm>
            <a:off x="11353800" y="5128695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56DB60-1FE9-A9CE-DA92-F1D660D948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Arrow: Left 2">
            <a:extLst>
              <a:ext uri="{FF2B5EF4-FFF2-40B4-BE49-F238E27FC236}">
                <a16:creationId xmlns:a16="http://schemas.microsoft.com/office/drawing/2014/main" id="{28AB1EF7-FC54-7055-567C-E3A871A624C3}"/>
              </a:ext>
            </a:extLst>
          </p:cNvPr>
          <p:cNvSpPr/>
          <p:nvPr/>
        </p:nvSpPr>
        <p:spPr>
          <a:xfrm rot="8283348">
            <a:off x="1087383" y="4688993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row: Left 8">
            <a:extLst>
              <a:ext uri="{FF2B5EF4-FFF2-40B4-BE49-F238E27FC236}">
                <a16:creationId xmlns:a16="http://schemas.microsoft.com/office/drawing/2014/main" id="{4857443B-21B0-FE7F-4FB1-5A01533840E9}"/>
              </a:ext>
            </a:extLst>
          </p:cNvPr>
          <p:cNvSpPr/>
          <p:nvPr/>
        </p:nvSpPr>
        <p:spPr>
          <a:xfrm rot="13316652" flipH="1">
            <a:off x="3019320" y="4688992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Left 9">
            <a:extLst>
              <a:ext uri="{FF2B5EF4-FFF2-40B4-BE49-F238E27FC236}">
                <a16:creationId xmlns:a16="http://schemas.microsoft.com/office/drawing/2014/main" id="{4E66645F-EC56-F718-D04F-A03BF19A80CB}"/>
              </a:ext>
            </a:extLst>
          </p:cNvPr>
          <p:cNvSpPr/>
          <p:nvPr/>
        </p:nvSpPr>
        <p:spPr>
          <a:xfrm rot="13316652" flipH="1">
            <a:off x="3019320" y="3889339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180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9" grpId="0" animBg="1"/>
      <p:bldP spid="10" grpId="0" animBg="1"/>
    </p:bld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8D7319-EA1A-E425-5B2E-FC6BFB860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174B382-BBCD-666D-ABDE-2FC38C3F9083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Multi Head Atten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38E80D-7F84-B0B1-99AF-8BB46009CDA4}"/>
              </a:ext>
            </a:extLst>
          </p:cNvPr>
          <p:cNvSpPr/>
          <p:nvPr/>
        </p:nvSpPr>
        <p:spPr>
          <a:xfrm>
            <a:off x="241421" y="658813"/>
            <a:ext cx="11716281" cy="617844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15C283-8FD0-9560-BC7D-CAF82A652514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18833F-8BE0-0F0B-61D6-67A70B6ECC5E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yer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2999515-DB06-9A33-EC4B-DBF8A9C36D1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F845526-1B73-7542-DEB6-F35BD5BF3242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4B60259-7853-B8BB-1F99-50E56E148015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DBFA7C8-3306-27AB-7AE2-091B3F21903B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E0261F66-D13D-1FA2-7FE7-402E387FA7F0}"/>
              </a:ext>
            </a:extLst>
          </p:cNvPr>
          <p:cNvSpPr txBox="1"/>
          <p:nvPr/>
        </p:nvSpPr>
        <p:spPr>
          <a:xfrm>
            <a:off x="295541" y="1204946"/>
            <a:ext cx="11662161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endParaRPr lang="en-US" b="0" dirty="0">
              <a:solidFill>
                <a:srgbClr val="FFC600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9D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h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h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Ensure that the embedding dimensionality is divisible by the number of heads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se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%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% 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num_heads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hould be zero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//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linear transformations for the queries, keys, values, and outpu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w_q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inea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bias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Fal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w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inea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bias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Fal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w_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inea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bias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Fal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w_o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inea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bias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Fal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dropout layer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ropout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8594A769-4F84-2761-7033-2D22059C25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673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554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2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8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98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38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2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3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79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23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67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25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DC43B6-119B-C949-4366-37292F507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523093A-A3FF-8A36-BC31-BD6819504478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Multi Head Atten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91118E-369F-04A5-840F-886C011683E6}"/>
              </a:ext>
            </a:extLst>
          </p:cNvPr>
          <p:cNvSpPr/>
          <p:nvPr/>
        </p:nvSpPr>
        <p:spPr>
          <a:xfrm>
            <a:off x="241421" y="658813"/>
            <a:ext cx="11716281" cy="617844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B6F2EB8-C20C-C5A5-0704-BC16049B2C0F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47C478-C920-BE6E-EA97-4FEE9379980B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yer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70527DC-C3CA-21E8-1C40-D562C33A04E1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61DA8AF-4167-B82F-912C-1A94C6A0D0FF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E64F398-9065-4844-0549-0CAF1C7D727F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ABC0E6F-BC1D-AFAF-79FF-AE97CA1D23C8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C35FD9B-84A9-365F-C739-FFD184944BFE}"/>
              </a:ext>
            </a:extLst>
          </p:cNvPr>
          <p:cNvSpPr txBox="1"/>
          <p:nvPr/>
        </p:nvSpPr>
        <p:spPr>
          <a:xfrm>
            <a:off x="295541" y="1204946"/>
            <a:ext cx="11662161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he attention function calculates the attention scores for a given query, key, and value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@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taticmethod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ttentio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|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|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h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mask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1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culate the attention scores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@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key_k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ranspo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qr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pply the mask, if provided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no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masked_fil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mask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e9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pply th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oftmax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and dropout function to the attention scores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oftma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Return the weighted sum of the values, along with the attention scores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h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,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h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@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79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4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8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96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2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88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8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4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86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2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49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81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1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31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93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10B380-BC81-1234-C564-CEA87765C6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A0DFB81-13DA-1678-C344-70266F06CCC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Multi Head Atten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DFD68E9-A9AD-603B-27A7-A19C3F92108B}"/>
              </a:ext>
            </a:extLst>
          </p:cNvPr>
          <p:cNvSpPr/>
          <p:nvPr/>
        </p:nvSpPr>
        <p:spPr>
          <a:xfrm>
            <a:off x="241421" y="658813"/>
            <a:ext cx="11861679" cy="617844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F37C05-71E8-67E3-805A-08E962870792}"/>
              </a:ext>
            </a:extLst>
          </p:cNvPr>
          <p:cNvSpPr/>
          <p:nvPr/>
        </p:nvSpPr>
        <p:spPr>
          <a:xfrm>
            <a:off x="234298" y="658813"/>
            <a:ext cx="11868802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7733170-B1F4-1FE2-B0A6-35ADC5C84F1D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yer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283F517-55B3-99FE-C927-71D22D21C167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6ABA481-C141-3584-6F04-227EF0924A32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55053E8-5AC2-09A2-F119-A25653679EF7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B228C1A-4EC1-21ED-8AA3-F7E03BF5EE30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8FA28841-D0B3-EA2E-E977-14F1041218F9}"/>
              </a:ext>
            </a:extLst>
          </p:cNvPr>
          <p:cNvSpPr txBox="1"/>
          <p:nvPr/>
        </p:nvSpPr>
        <p:spPr>
          <a:xfrm>
            <a:off x="241421" y="1204946"/>
            <a:ext cx="11861679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   # The forward method is called when we pass input data into this layer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ward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query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key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alue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query | key | value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mask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1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pply the linear transformations to the query, key, and value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w_q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query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w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key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w_v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value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Reshape and transpose the queries, keys, and values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view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	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ranspo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view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ranspo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      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view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	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ranspo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</a:t>
            </a: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0FD721D3-E730-D272-BC21-D625A38E31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673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4642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6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36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64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88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12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36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8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43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43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271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271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112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F4C56E-9955-33E1-B50A-F27B5B1A72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5BBC021-4EAC-BD13-02E7-B37C1C72E7D3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Multi Head Atten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DFB2AE-F3D7-B2A5-41DB-FAB37C62C0E5}"/>
              </a:ext>
            </a:extLst>
          </p:cNvPr>
          <p:cNvSpPr/>
          <p:nvPr/>
        </p:nvSpPr>
        <p:spPr>
          <a:xfrm>
            <a:off x="241421" y="658813"/>
            <a:ext cx="11716281" cy="4516451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F550592-F4A4-CA29-30C9-B5E560E7277E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4D03AF-D391-7573-87A2-BD07C0E9A33A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yer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B48C73D-7F79-DE2E-528B-280A462287FB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B885ED-10F6-1D65-B2B1-35A729488170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3039E2C-1C01-7725-4FB5-4BF3B1D779D1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B2CB6BB-10AD-28E5-D5D8-3BB0802F437B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B1D137F-2623-D1A7-C11C-8EC629C8844F}"/>
              </a:ext>
            </a:extLst>
          </p:cNvPr>
          <p:cNvSpPr txBox="1"/>
          <p:nvPr/>
        </p:nvSpPr>
        <p:spPr>
          <a:xfrm>
            <a:off x="295542" y="1204946"/>
            <a:ext cx="11655038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	 # Calculate the attention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_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	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oncatenate the attention heads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h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 -&gt;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h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 -&gt;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	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attention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ranspo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ontiguou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view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pply the output linear transformation and return the resul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w_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411BBEBF-969F-0803-693B-70A3883927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673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4884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4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6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6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42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44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66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02417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11353801" cy="4919421"/>
          </a:xfrm>
        </p:spPr>
        <p:txBody>
          <a:bodyPr>
            <a:normAutofit/>
          </a:bodyPr>
          <a:lstStyle/>
          <a:p>
            <a:r>
              <a:rPr lang="en-US" b="1" dirty="0"/>
              <a:t>PyCharm</a:t>
            </a:r>
            <a:r>
              <a:rPr lang="en-US" dirty="0"/>
              <a:t> </a:t>
            </a:r>
            <a:r>
              <a:rPr lang="en-US" b="1" dirty="0"/>
              <a:t>(</a:t>
            </a:r>
            <a:r>
              <a:rPr lang="en-US" dirty="0">
                <a:hlinkClick r:id="rId2"/>
              </a:rPr>
              <a:t>https://www.jetbrains.com/pycharm/download/?section=windows</a:t>
            </a:r>
            <a:r>
              <a:rPr lang="en-US" b="1" dirty="0"/>
              <a:t>)</a:t>
            </a:r>
            <a:r>
              <a:rPr lang="en-US" dirty="0"/>
              <a:t>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D32A770-F8E1-6F9D-EB8C-1FADA8CF34C0}"/>
              </a:ext>
            </a:extLst>
          </p:cNvPr>
          <p:cNvGrpSpPr/>
          <p:nvPr/>
        </p:nvGrpSpPr>
        <p:grpSpPr>
          <a:xfrm>
            <a:off x="1118647" y="2939004"/>
            <a:ext cx="9954705" cy="3806041"/>
            <a:chOff x="1118647" y="2939004"/>
            <a:chExt cx="9954705" cy="3806041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C1C22F0-4A1C-384B-D824-481B3201E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18647" y="2939004"/>
              <a:ext cx="9954705" cy="1914633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3588CBA-28E1-2CFD-01C1-486F308E2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18647" y="5161889"/>
              <a:ext cx="3863172" cy="1583156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2A55026-A440-77AB-28BE-FEBB6C387CE1}"/>
              </a:ext>
            </a:extLst>
          </p:cNvPr>
          <p:cNvGrpSpPr/>
          <p:nvPr/>
        </p:nvGrpSpPr>
        <p:grpSpPr>
          <a:xfrm>
            <a:off x="6106579" y="4533303"/>
            <a:ext cx="4966773" cy="2211742"/>
            <a:chOff x="6106579" y="4533303"/>
            <a:chExt cx="4966773" cy="2211742"/>
          </a:xfrm>
        </p:grpSpPr>
        <p:pic>
          <p:nvPicPr>
            <p:cNvPr id="3074" name="Picture 2" descr="Download PyCharm: The Python IDE for data science and web development by  JetBrains">
              <a:extLst>
                <a:ext uri="{FF2B5EF4-FFF2-40B4-BE49-F238E27FC236}">
                  <a16:creationId xmlns:a16="http://schemas.microsoft.com/office/drawing/2014/main" id="{52E4A060-3861-579B-A763-D1FFF67EB8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8198" y="4533303"/>
              <a:ext cx="4195154" cy="22117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6" descr="PyCharm — Wikipédia">
              <a:extLst>
                <a:ext uri="{FF2B5EF4-FFF2-40B4-BE49-F238E27FC236}">
                  <a16:creationId xmlns:a16="http://schemas.microsoft.com/office/drawing/2014/main" id="{40A3E161-F3BE-B7E3-6E7F-18CC4E00A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6579" y="4533303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92556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621C9-0E10-969E-B243-68AB616D81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1758BBE-F229-66C7-082C-4C66B98C8EFE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Attention without mask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85BCB07-CCE8-F6FF-6111-08BED8B56339}"/>
              </a:ext>
            </a:extLst>
          </p:cNvPr>
          <p:cNvSpPr/>
          <p:nvPr/>
        </p:nvSpPr>
        <p:spPr>
          <a:xfrm>
            <a:off x="234297" y="658811"/>
            <a:ext cx="11792860" cy="61317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CBE2DC-7294-521E-D6B8-45CC982D0CE0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198208-5580-276A-DF03-69F4F787480E}"/>
              </a:ext>
            </a:extLst>
          </p:cNvPr>
          <p:cNvSpPr/>
          <p:nvPr/>
        </p:nvSpPr>
        <p:spPr>
          <a:xfrm>
            <a:off x="1382313" y="658812"/>
            <a:ext cx="3531520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attention.ipynb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144BF3-A682-C0CA-CD96-19D7A232DB7C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A544986-75D2-AD3B-3B52-21BC5544083D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14CB460-21C8-48CA-3231-88151C75BF69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FCD189D-C43D-EE03-9BA6-91E14B49D2C0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EA5FE14F-9AB3-D1A6-E402-63FB2114C399}"/>
              </a:ext>
            </a:extLst>
          </p:cNvPr>
          <p:cNvSpPr txBox="1"/>
          <p:nvPr/>
        </p:nvSpPr>
        <p:spPr>
          <a:xfrm>
            <a:off x="295541" y="1158291"/>
            <a:ext cx="6925655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yer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ultiHeadAtten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onfiguration setting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4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4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a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l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l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l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l the attention fun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 err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1451AD-42CC-FF7B-38B1-9BA2436651EB}"/>
              </a:ext>
            </a:extLst>
          </p:cNvPr>
          <p:cNvSpPr txBox="1"/>
          <p:nvPr/>
        </p:nvSpPr>
        <p:spPr>
          <a:xfrm>
            <a:off x="7125617" y="1249310"/>
            <a:ext cx="4901539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Output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Attention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cores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Attention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cores: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{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s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2" descr="Project Jupyter - Wikipedia">
            <a:extLst>
              <a:ext uri="{FF2B5EF4-FFF2-40B4-BE49-F238E27FC236}">
                <a16:creationId xmlns:a16="http://schemas.microsoft.com/office/drawing/2014/main" id="{E35D2F01-D03F-62A7-3954-6505728B4F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3212" y="684549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A1D2249-BFD1-22B2-B31B-A54E4EF18D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1196" y="3273340"/>
            <a:ext cx="3381375" cy="1162050"/>
          </a:xfrm>
          <a:prstGeom prst="rect">
            <a:avLst/>
          </a:prstGeom>
          <a:ln>
            <a:solidFill>
              <a:srgbClr val="00B050"/>
            </a:solidFill>
          </a:ln>
        </p:spPr>
      </p:pic>
    </p:spTree>
    <p:extLst>
      <p:ext uri="{BB962C8B-B14F-4D97-AF65-F5344CB8AC3E}">
        <p14:creationId xmlns:p14="http://schemas.microsoft.com/office/powerpoint/2010/main" val="3648032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4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8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6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0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8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6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9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17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35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3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61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35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576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857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098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974768-17B0-8F7C-E1E5-ADA8A88A06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C400700-D458-0C96-D783-E701CB71975C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Attention with mask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DF18FD-7FA3-30D2-F550-00A96C4D6AE1}"/>
              </a:ext>
            </a:extLst>
          </p:cNvPr>
          <p:cNvSpPr/>
          <p:nvPr/>
        </p:nvSpPr>
        <p:spPr>
          <a:xfrm>
            <a:off x="234297" y="658811"/>
            <a:ext cx="11792860" cy="61317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AD3DA76-F03E-AB43-E2BE-5A2EBFC463F5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F5F992-4127-C59B-6B8B-3060043D9C26}"/>
              </a:ext>
            </a:extLst>
          </p:cNvPr>
          <p:cNvSpPr/>
          <p:nvPr/>
        </p:nvSpPr>
        <p:spPr>
          <a:xfrm>
            <a:off x="1382312" y="658812"/>
            <a:ext cx="4804843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attention.ipynb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4D11B9A-01F1-EBD6-CA94-83988D892107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E4657EE-F9AA-333C-19D5-051CB0D5A860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E2EB6DC4-379A-BA6E-E0F2-D0A58FE500B9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550E286-6529-F81A-F38F-C51321D4F1AA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E4176ABA-3BCC-A9A5-5809-255355857D80}"/>
              </a:ext>
            </a:extLst>
          </p:cNvPr>
          <p:cNvSpPr txBox="1"/>
          <p:nvPr/>
        </p:nvSpPr>
        <p:spPr>
          <a:xfrm>
            <a:off x="295541" y="1158291"/>
            <a:ext cx="7096571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yer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ultiHeadAtten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highlight>
                  <a:srgbClr val="193549"/>
                </a:highlight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highlight>
                  <a:srgbClr val="193549"/>
                </a:highlight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highlight>
                  <a:srgbClr val="193549"/>
                </a:highlight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highlight>
                  <a:srgbClr val="193549"/>
                </a:highlight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highlight>
                  <a:srgbClr val="193549"/>
                </a:highlight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FFFF"/>
                </a:solidFill>
                <a:effectLst/>
                <a:highlight>
                  <a:srgbClr val="193549"/>
                </a:highlight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highlight>
                  <a:srgbClr val="193549"/>
                </a:highlight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highlight>
                  <a:srgbClr val="193549"/>
                </a:highlight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highlight>
                  <a:srgbClr val="193549"/>
                </a:highlight>
                <a:latin typeface="Consolas" panose="020B0609020204030204" pitchFamily="49" charset="0"/>
              </a:rPr>
              <a:t>create_decoder_mas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onfiguration settin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4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4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input tensors</a:t>
            </a: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reproducible result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a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l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l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l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decoder mas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dding token ID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de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E1A8A7-A39D-64F3-FC36-78C5CFEAD30A}"/>
              </a:ext>
            </a:extLst>
          </p:cNvPr>
          <p:cNvSpPr txBox="1"/>
          <p:nvPr/>
        </p:nvSpPr>
        <p:spPr>
          <a:xfrm>
            <a:off x="7125617" y="1249310"/>
            <a:ext cx="4901539" cy="230832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l the attention fun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_score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…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2" descr="Project Jupyter - Wikipedia">
            <a:extLst>
              <a:ext uri="{FF2B5EF4-FFF2-40B4-BE49-F238E27FC236}">
                <a16:creationId xmlns:a16="http://schemas.microsoft.com/office/drawing/2014/main" id="{B7A98F25-57DD-1B77-932F-B32F2E46B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3212" y="684549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A26B8DE-23A6-73B9-973C-9C507D126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4821" y="3686658"/>
            <a:ext cx="3600450" cy="2390775"/>
          </a:xfrm>
          <a:prstGeom prst="rect">
            <a:avLst/>
          </a:prstGeom>
          <a:ln>
            <a:solidFill>
              <a:srgbClr val="00B050"/>
            </a:solidFill>
          </a:ln>
        </p:spPr>
      </p:pic>
    </p:spTree>
    <p:extLst>
      <p:ext uri="{BB962C8B-B14F-4D97-AF65-F5344CB8AC3E}">
        <p14:creationId xmlns:p14="http://schemas.microsoft.com/office/powerpoint/2010/main" val="3670655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2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4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2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6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4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72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9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45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63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81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99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05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396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697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198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3279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06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081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556CE2-8EE3-FAAA-F26E-532F85DAFA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D719A80-B4A7-AE79-CA68-4A04691E88D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Multi Head Atten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ADD987-3DB1-AC99-76EA-843BBBF5F4BB}"/>
              </a:ext>
            </a:extLst>
          </p:cNvPr>
          <p:cNvSpPr/>
          <p:nvPr/>
        </p:nvSpPr>
        <p:spPr>
          <a:xfrm>
            <a:off x="234297" y="658811"/>
            <a:ext cx="11792860" cy="61317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726DDCA-7007-F9A2-11E3-DB8231976B9C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C38B54A-882C-C848-DD00-3E0B6A0185A6}"/>
              </a:ext>
            </a:extLst>
          </p:cNvPr>
          <p:cNvSpPr/>
          <p:nvPr/>
        </p:nvSpPr>
        <p:spPr>
          <a:xfrm>
            <a:off x="1382312" y="658812"/>
            <a:ext cx="4804843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multi_head_attention.ipynb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FB0278C-8787-7C46-1E19-F95402580EBC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6493914-05D4-0E0C-A94C-BA7DD42E8F82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1B31455-1D11-8E60-180F-87876F78B29B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E1D54C3-06F0-B541-5778-05B1B6634FAF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2A5B5105-0331-3D40-CD04-7449A3666C4A}"/>
              </a:ext>
            </a:extLst>
          </p:cNvPr>
          <p:cNvSpPr txBox="1"/>
          <p:nvPr/>
        </p:nvSpPr>
        <p:spPr>
          <a:xfrm>
            <a:off x="295541" y="1158291"/>
            <a:ext cx="6830075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te confi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5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th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cla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ulti_head_attentio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random tensors </a:t>
            </a:r>
            <a:endParaRPr lang="en-US" i="1" dirty="0">
              <a:solidFill>
                <a:srgbClr val="0088FF"/>
              </a:solidFill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reproducible resul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164F3F-A2D8-CE7F-363E-1C2CAC40EACB}"/>
              </a:ext>
            </a:extLst>
          </p:cNvPr>
          <p:cNvSpPr txBox="1"/>
          <p:nvPr/>
        </p:nvSpPr>
        <p:spPr>
          <a:xfrm>
            <a:off x="7125617" y="1249310"/>
            <a:ext cx="4901539" cy="36933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query, key, value.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l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l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l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l multi-head attention lay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ulti_head_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query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key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u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attention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attention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attentio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25F1FA3-60DA-F67C-415F-4CF7EA2DFF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616" y="4988666"/>
            <a:ext cx="4633362" cy="1508891"/>
          </a:xfrm>
          <a:prstGeom prst="rect">
            <a:avLst/>
          </a:prstGeom>
          <a:ln>
            <a:solidFill>
              <a:srgbClr val="00994D"/>
            </a:solidFill>
          </a:ln>
        </p:spPr>
      </p:pic>
      <p:pic>
        <p:nvPicPr>
          <p:cNvPr id="2" name="Picture 2" descr="Project Jupyter - Wikipedia">
            <a:extLst>
              <a:ext uri="{FF2B5EF4-FFF2-40B4-BE49-F238E27FC236}">
                <a16:creationId xmlns:a16="http://schemas.microsoft.com/office/drawing/2014/main" id="{3AB329F3-B2E4-92A7-11B5-0EB6DEB6BE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3212" y="684549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1408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4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8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6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2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6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1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75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5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11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33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71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836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977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118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259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34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2601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2762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983"/>
                            </p:stCondLst>
                            <p:childTnLst>
                              <p:par>
                                <p:cTn id="7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0515887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B7C7DC-B5AA-8ED2-F68C-6916E3B201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3A2EB0-A707-4A7E-B8CD-213218213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building block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DE5FC430-E2C4-1D92-2E71-1B4FB64042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D86EA274-13C5-0DA1-8789-EC06E5DC2B53}"/>
              </a:ext>
            </a:extLst>
          </p:cNvPr>
          <p:cNvSpPr/>
          <p:nvPr/>
        </p:nvSpPr>
        <p:spPr>
          <a:xfrm>
            <a:off x="11353800" y="4844850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CEDAB4-D1C0-907D-968D-0825B0EE16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Arrow: Left 2">
            <a:extLst>
              <a:ext uri="{FF2B5EF4-FFF2-40B4-BE49-F238E27FC236}">
                <a16:creationId xmlns:a16="http://schemas.microsoft.com/office/drawing/2014/main" id="{064F7B72-BC4F-5B7B-DA96-BE199A3F1D58}"/>
              </a:ext>
            </a:extLst>
          </p:cNvPr>
          <p:cNvSpPr/>
          <p:nvPr/>
        </p:nvSpPr>
        <p:spPr>
          <a:xfrm rot="8283348">
            <a:off x="1069799" y="4002689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Arrow: Left 5">
            <a:extLst>
              <a:ext uri="{FF2B5EF4-FFF2-40B4-BE49-F238E27FC236}">
                <a16:creationId xmlns:a16="http://schemas.microsoft.com/office/drawing/2014/main" id="{AD7EFDF8-EDBD-1BCD-C844-DF4134B27BDE}"/>
              </a:ext>
            </a:extLst>
          </p:cNvPr>
          <p:cNvSpPr/>
          <p:nvPr/>
        </p:nvSpPr>
        <p:spPr>
          <a:xfrm rot="13316652" flipH="1">
            <a:off x="3036904" y="3370146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130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6" grpId="0" animBg="1"/>
    </p:bld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3A3429-2BB8-783F-31AC-8859FE92B0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EFBDD10-03D5-D7AB-52EB-7F51775B8138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Feed Forwar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5BBEED-7F0B-6224-E93F-63DE1216B36C}"/>
              </a:ext>
            </a:extLst>
          </p:cNvPr>
          <p:cNvSpPr/>
          <p:nvPr/>
        </p:nvSpPr>
        <p:spPr>
          <a:xfrm>
            <a:off x="241421" y="658813"/>
            <a:ext cx="11716281" cy="617844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23C419-D0E0-AEB4-7BD4-0BDB4A890038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40144C-8E89-40D7-C5A6-0423F28B55ED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yer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EEC8DAD-38EF-4F15-4F4B-7E1907E9B6AC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CE4FA2C-4664-79FC-6744-A10179C2D56A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5BBBA5E-AE4A-F061-A840-5EA962D4CBD6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2DBE3AE-CE0F-2BE9-01BA-45C2207A8188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843D2BA-2E3F-8910-C390-16DEE9414DC4}"/>
              </a:ext>
            </a:extLst>
          </p:cNvPr>
          <p:cNvSpPr txBox="1"/>
          <p:nvPr/>
        </p:nvSpPr>
        <p:spPr>
          <a:xfrm>
            <a:off x="295541" y="1204946"/>
            <a:ext cx="11662161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endParaRPr lang="en-US" b="0" dirty="0">
              <a:solidFill>
                <a:srgbClr val="FFC600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9D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first linear transformation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  <a:sym typeface="Wingdings" panose="05000000000000000000" pitchFamily="2" charset="2"/>
              </a:rPr>
              <a:t>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inear1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inea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second linear transformation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  <a:sym typeface="Wingdings" panose="05000000000000000000" pitchFamily="2" charset="2"/>
              </a:rPr>
              <a:t>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inear2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inea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dropout layer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ropout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ward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x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inear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lu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inear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))))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05865439-8AE7-89AA-8F64-6D2777D92B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673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996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6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84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84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146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467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467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768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89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89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1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411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872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973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6C2F5B-0088-4F78-8205-D1E8D1F84D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0BE9C70-E51A-F761-43F7-54716B59FCE7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Feed Forwar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2284C8-4DFA-614C-984C-79141591D658}"/>
              </a:ext>
            </a:extLst>
          </p:cNvPr>
          <p:cNvSpPr/>
          <p:nvPr/>
        </p:nvSpPr>
        <p:spPr>
          <a:xfrm>
            <a:off x="234297" y="658811"/>
            <a:ext cx="11792860" cy="61317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1C8FE5-3382-B6A8-5B9F-570F25845C68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F6CDB4-CAA9-25AB-5936-8D648DE8E5BC}"/>
              </a:ext>
            </a:extLst>
          </p:cNvPr>
          <p:cNvSpPr/>
          <p:nvPr/>
        </p:nvSpPr>
        <p:spPr>
          <a:xfrm>
            <a:off x="1382312" y="658812"/>
            <a:ext cx="4215183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feed_forward.ipynb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038613-CB80-36D4-27EC-A4725771F133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16E0E4F-6B21-27AE-25B7-A52C392E35FB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E96658A-0098-9C6F-1FA4-DE34A2BEF3E7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FEFD033-24A7-F88C-97E8-38844F98F966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C844B90-C213-1BC8-1894-722D3CDB28D3}"/>
              </a:ext>
            </a:extLst>
          </p:cNvPr>
          <p:cNvSpPr txBox="1"/>
          <p:nvPr/>
        </p:nvSpPr>
        <p:spPr>
          <a:xfrm>
            <a:off x="295541" y="1158291"/>
            <a:ext cx="6830075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te configura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5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4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048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th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cla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f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 random tensor to represent a batch of sequenc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reproducible result of random proce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F029D6-6E27-17D3-0C60-240509B2CC16}"/>
              </a:ext>
            </a:extLst>
          </p:cNvPr>
          <p:cNvSpPr txBox="1"/>
          <p:nvPr/>
        </p:nvSpPr>
        <p:spPr>
          <a:xfrm>
            <a:off x="7125617" y="1249310"/>
            <a:ext cx="4901539" cy="230832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ss the tensor through the feed-forward networ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f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Initial input tensor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Output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Output's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BC502A4-9B38-D38F-B140-1737692921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616" y="3686657"/>
            <a:ext cx="4717770" cy="2512529"/>
          </a:xfrm>
          <a:prstGeom prst="rect">
            <a:avLst/>
          </a:prstGeom>
          <a:ln>
            <a:solidFill>
              <a:srgbClr val="00994D"/>
            </a:solidFill>
          </a:ln>
        </p:spPr>
      </p:pic>
      <p:pic>
        <p:nvPicPr>
          <p:cNvPr id="2" name="Picture 2" descr="Project Jupyter - Wikipedia">
            <a:extLst>
              <a:ext uri="{FF2B5EF4-FFF2-40B4-BE49-F238E27FC236}">
                <a16:creationId xmlns:a16="http://schemas.microsoft.com/office/drawing/2014/main" id="{BB73603F-74EC-EDDF-6D1B-EF6AB681D8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124" y="693396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429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4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8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6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2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0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79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5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25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3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87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16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117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318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479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70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0008999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E3508-E852-DE8B-C554-9BDCCAA4B5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50C88-3B61-4F1E-4E8A-4C9D0CEFD6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building block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696F4AE6-096D-ED8D-DFF1-C9D9DA466E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F0A326C6-4340-C2B2-6479-B2D993AACA03}"/>
              </a:ext>
            </a:extLst>
          </p:cNvPr>
          <p:cNvSpPr/>
          <p:nvPr/>
        </p:nvSpPr>
        <p:spPr>
          <a:xfrm>
            <a:off x="11350862" y="4528656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FC62B85-D4D4-BC65-28A1-E7414EF0C4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Arrow: Left 2">
            <a:extLst>
              <a:ext uri="{FF2B5EF4-FFF2-40B4-BE49-F238E27FC236}">
                <a16:creationId xmlns:a16="http://schemas.microsoft.com/office/drawing/2014/main" id="{F9903408-EB62-3B94-0712-7930E4CFE1AE}"/>
              </a:ext>
            </a:extLst>
          </p:cNvPr>
          <p:cNvSpPr/>
          <p:nvPr/>
        </p:nvSpPr>
        <p:spPr>
          <a:xfrm rot="8283348">
            <a:off x="1095437" y="4443291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4DDF3267-BD53-8553-11AB-BFEC51A180E6}"/>
              </a:ext>
            </a:extLst>
          </p:cNvPr>
          <p:cNvSpPr/>
          <p:nvPr/>
        </p:nvSpPr>
        <p:spPr>
          <a:xfrm rot="13316652" flipH="1">
            <a:off x="3028357" y="3102010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Left 11">
            <a:extLst>
              <a:ext uri="{FF2B5EF4-FFF2-40B4-BE49-F238E27FC236}">
                <a16:creationId xmlns:a16="http://schemas.microsoft.com/office/drawing/2014/main" id="{676D5EB2-7AB2-FAB5-D278-DAE9CE361EB4}"/>
              </a:ext>
            </a:extLst>
          </p:cNvPr>
          <p:cNvSpPr/>
          <p:nvPr/>
        </p:nvSpPr>
        <p:spPr>
          <a:xfrm rot="13316652" flipH="1">
            <a:off x="3038996" y="3698360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337615FB-5B8D-8D53-1024-148DEBA02450}"/>
              </a:ext>
            </a:extLst>
          </p:cNvPr>
          <p:cNvSpPr/>
          <p:nvPr/>
        </p:nvSpPr>
        <p:spPr>
          <a:xfrm rot="13316652" flipH="1">
            <a:off x="3038996" y="4339574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D57E2667-B2DE-FACE-02FA-77B8E520E321}"/>
              </a:ext>
            </a:extLst>
          </p:cNvPr>
          <p:cNvSpPr/>
          <p:nvPr/>
        </p:nvSpPr>
        <p:spPr>
          <a:xfrm rot="8283348">
            <a:off x="1109167" y="3802097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103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8" grpId="0" animBg="1"/>
      <p:bldP spid="12" grpId="0" animBg="1"/>
      <p:bldP spid="13" grpId="0" animBg="1"/>
      <p:bldP spid="15" grpId="0" animBg="1"/>
    </p:bld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02B763-A796-9FE9-08B9-80AD8A58E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F52569D-E3D5-597B-0F5E-993AE773657F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Layer Normaliz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5179190-1247-762F-DD1D-33716E078F28}"/>
              </a:ext>
            </a:extLst>
          </p:cNvPr>
          <p:cNvSpPr/>
          <p:nvPr/>
        </p:nvSpPr>
        <p:spPr>
          <a:xfrm>
            <a:off x="241421" y="658813"/>
            <a:ext cx="11716281" cy="617844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CB7731-73E4-D904-5CB3-592C421C9811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06E352-C814-5C5F-1DAF-B2A72F500620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yer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D74750B-AC5D-F459-ADB6-B0D3E0E914B8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712CA27-EF43-503B-59E8-2FC93C1B157F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5167BAB-8A52-1915-345D-975497283840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829AF66-52B9-54C0-697C-1AFBDFB20082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EA29FCA6-7F20-8AC9-4162-6B18883933B7}"/>
              </a:ext>
            </a:extLst>
          </p:cNvPr>
          <p:cNvSpPr txBox="1"/>
          <p:nvPr/>
        </p:nvSpPr>
        <p:spPr>
          <a:xfrm>
            <a:off x="295541" y="1204946"/>
            <a:ext cx="11662161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Nor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ps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e-6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scale and shift parameters, which are learnable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ra_mu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aramet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one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ra_bi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aramet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zero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tore the epsilon value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p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p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ward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x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C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alculate the mean and standard deviation of the inpu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mean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mea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keep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std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t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keep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	</a:t>
            </a:r>
          </a:p>
          <a:p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	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cale and shift the normalized value,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ra_mu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mea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td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p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ra_bia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4C5C65B2-389F-51BC-8374-9B0157B2D8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673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5524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6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43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88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4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606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606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727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828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89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49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771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52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052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453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i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r>
              <a:rPr lang="en-US" dirty="0"/>
              <a:t> Window: </a:t>
            </a:r>
            <a:r>
              <a:rPr lang="en-US" b="1" dirty="0"/>
              <a:t>PowerShell</a:t>
            </a:r>
            <a:r>
              <a:rPr lang="en-US" dirty="0"/>
              <a:t>, Command Prompt, Windows Terminal, Git Bash, WSL (Window Subsystem for Linux), …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DB0E5A-DFC6-338A-493D-70A9AC5A1E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303" y="2913043"/>
            <a:ext cx="9811393" cy="3579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04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D8704D-C11B-A5A3-5173-D2E6F5042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BB0424D-43DB-47FA-00B5-C2BE058D0EDA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Layer Normaliz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4E1EED-6CCD-FC60-4543-6F9BD1C44E61}"/>
              </a:ext>
            </a:extLst>
          </p:cNvPr>
          <p:cNvSpPr/>
          <p:nvPr/>
        </p:nvSpPr>
        <p:spPr>
          <a:xfrm>
            <a:off x="234297" y="658811"/>
            <a:ext cx="11792860" cy="61317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48EC9D-BFC2-96BA-909C-FE5E6A0B0E54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447E6D-86EE-76B7-B7D4-2BBFBDAEA378}"/>
              </a:ext>
            </a:extLst>
          </p:cNvPr>
          <p:cNvSpPr/>
          <p:nvPr/>
        </p:nvSpPr>
        <p:spPr>
          <a:xfrm>
            <a:off x="1382312" y="658812"/>
            <a:ext cx="4713688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layer_normalization.ipynb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59B162C-11A2-C091-BFB3-EFEA63C5ACAC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6D89535-B927-7D49-BBB2-F0539C279773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2892539-994A-E307-4C8A-C4294994D2C7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C4B3C7AA-62A8-5DF0-22C4-2FA1380F6631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BE41810-9423-FDB8-74D1-7B63DE8BFAC2}"/>
              </a:ext>
            </a:extLst>
          </p:cNvPr>
          <p:cNvSpPr txBox="1"/>
          <p:nvPr/>
        </p:nvSpPr>
        <p:spPr>
          <a:xfrm>
            <a:off x="295541" y="1158291"/>
            <a:ext cx="6830075" cy="480131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Norm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te configura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5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our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LayerNorm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cla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yer_nor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Nor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 random tensor to represent a batch of sequenc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reproducible resul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6C4B72-D5AD-0D4D-C4AE-A828DA0DE2BB}"/>
              </a:ext>
            </a:extLst>
          </p:cNvPr>
          <p:cNvSpPr txBox="1"/>
          <p:nvPr/>
        </p:nvSpPr>
        <p:spPr>
          <a:xfrm>
            <a:off x="7125617" y="1249310"/>
            <a:ext cx="4901539" cy="258532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ss our sequences through the layer normaliza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normalized_sequence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yer_nor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Initial input tensor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Normalized sequences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normalized_sequence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Normalized sequences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normalized_sequence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3561D70-36F9-26C2-FF97-51C1D2841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616" y="3855508"/>
            <a:ext cx="4734920" cy="2195116"/>
          </a:xfrm>
          <a:prstGeom prst="rect">
            <a:avLst/>
          </a:prstGeom>
          <a:ln>
            <a:solidFill>
              <a:srgbClr val="00994D"/>
            </a:solidFill>
          </a:ln>
        </p:spPr>
      </p:pic>
      <p:pic>
        <p:nvPicPr>
          <p:cNvPr id="2" name="Picture 2" descr="Project Jupyter - Wikipedia">
            <a:extLst>
              <a:ext uri="{FF2B5EF4-FFF2-40B4-BE49-F238E27FC236}">
                <a16:creationId xmlns:a16="http://schemas.microsoft.com/office/drawing/2014/main" id="{759CEE90-CD40-E1E1-AF1B-68B12BCBCC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124" y="693396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1769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4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8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6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2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6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8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5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27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61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75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93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136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357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638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4401158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261C50-03EA-D5E2-6317-1C54F17EA3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8A17F-08F5-AA46-F88F-D5078470C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building block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3D43E6EA-0CD0-26E5-1191-9F05CE6FF6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ED4AF5CE-4948-A586-042D-5E24715CCB67}"/>
              </a:ext>
            </a:extLst>
          </p:cNvPr>
          <p:cNvSpPr/>
          <p:nvPr/>
        </p:nvSpPr>
        <p:spPr>
          <a:xfrm>
            <a:off x="11353800" y="4264254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08F92D-F4F3-B7DF-7154-90705A27AB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Arrow: Left 2">
            <a:extLst>
              <a:ext uri="{FF2B5EF4-FFF2-40B4-BE49-F238E27FC236}">
                <a16:creationId xmlns:a16="http://schemas.microsoft.com/office/drawing/2014/main" id="{D71EA09C-A31E-61A5-ED5E-445A0744F476}"/>
              </a:ext>
            </a:extLst>
          </p:cNvPr>
          <p:cNvSpPr/>
          <p:nvPr/>
        </p:nvSpPr>
        <p:spPr>
          <a:xfrm rot="8283348">
            <a:off x="925795" y="4446775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818D9DED-0588-DC80-74FE-704CF01841CE}"/>
              </a:ext>
            </a:extLst>
          </p:cNvPr>
          <p:cNvSpPr/>
          <p:nvPr/>
        </p:nvSpPr>
        <p:spPr>
          <a:xfrm rot="13316652" flipH="1">
            <a:off x="3153297" y="4446775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Left 11">
            <a:extLst>
              <a:ext uri="{FF2B5EF4-FFF2-40B4-BE49-F238E27FC236}">
                <a16:creationId xmlns:a16="http://schemas.microsoft.com/office/drawing/2014/main" id="{5FD38F91-757D-094C-B511-C677ED74085B}"/>
              </a:ext>
            </a:extLst>
          </p:cNvPr>
          <p:cNvSpPr/>
          <p:nvPr/>
        </p:nvSpPr>
        <p:spPr>
          <a:xfrm rot="8283348">
            <a:off x="925794" y="3802096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A4E5656C-2EF6-09F0-D0BA-3F2CA2089180}"/>
              </a:ext>
            </a:extLst>
          </p:cNvPr>
          <p:cNvSpPr/>
          <p:nvPr/>
        </p:nvSpPr>
        <p:spPr>
          <a:xfrm rot="13316652" flipH="1">
            <a:off x="3153296" y="3802096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Left 13">
            <a:extLst>
              <a:ext uri="{FF2B5EF4-FFF2-40B4-BE49-F238E27FC236}">
                <a16:creationId xmlns:a16="http://schemas.microsoft.com/office/drawing/2014/main" id="{F7CADC78-95BB-503D-9864-A4F72BC53609}"/>
              </a:ext>
            </a:extLst>
          </p:cNvPr>
          <p:cNvSpPr/>
          <p:nvPr/>
        </p:nvSpPr>
        <p:spPr>
          <a:xfrm rot="13316652" flipH="1">
            <a:off x="3153296" y="3091551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315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8" grpId="0" animBg="1"/>
      <p:bldP spid="12" grpId="0" animBg="1"/>
      <p:bldP spid="13" grpId="0" animBg="1"/>
      <p:bldP spid="14" grpId="0" animBg="1"/>
    </p:bld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3F65D-450C-3D79-4A59-91382DE980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F6026A7-FCFD-6BAB-4A78-CAF91983C265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Residual Connec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09AECB-658E-BB85-CBA4-CC3EBB91F8D2}"/>
              </a:ext>
            </a:extLst>
          </p:cNvPr>
          <p:cNvSpPr/>
          <p:nvPr/>
        </p:nvSpPr>
        <p:spPr>
          <a:xfrm>
            <a:off x="241421" y="658813"/>
            <a:ext cx="11716281" cy="47934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D412783-5D22-197B-B4B0-50C85F328FCF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4D3A253-1375-3722-11A6-644920FFF238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yer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85B9B5D-7143-D1E6-906A-4014587EFB91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72680C7-726A-0830-03CA-486118255EEA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CA18940-D2EE-26CC-DA70-FEF0FD8BC946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F487EEA7-560D-39DA-B755-04DBB07E51EA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9011484-AEE6-95E8-6DD2-8199FF44CE65}"/>
              </a:ext>
            </a:extLst>
          </p:cNvPr>
          <p:cNvSpPr txBox="1"/>
          <p:nvPr/>
        </p:nvSpPr>
        <p:spPr>
          <a:xfrm>
            <a:off x="295541" y="1204946"/>
            <a:ext cx="11662161" cy="424731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sidualConn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layer normalization layer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nor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Nor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dropout layer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ropout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ward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ublayer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x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pply layer normalization to the input, passes the result through the sublay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sublayer(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nor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)))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EA94C358-2987-EAA8-D205-7CF693FD02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673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9141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0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3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4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94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945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66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267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768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49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0F40CA-AC21-2A15-0DF0-72DD41D163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BB3371B-42E6-96DE-71FD-7F8DCD3DE1F4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Residual Connec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FB46A20-4CC3-67F1-D800-6304B06F941D}"/>
              </a:ext>
            </a:extLst>
          </p:cNvPr>
          <p:cNvSpPr/>
          <p:nvPr/>
        </p:nvSpPr>
        <p:spPr>
          <a:xfrm>
            <a:off x="234297" y="658811"/>
            <a:ext cx="11792860" cy="61317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DE0F29-2EB6-8C9F-563D-EF88C7A2A8FF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4E9A81-DE94-4804-01F7-9FDB0BA8E6F5}"/>
              </a:ext>
            </a:extLst>
          </p:cNvPr>
          <p:cNvSpPr/>
          <p:nvPr/>
        </p:nvSpPr>
        <p:spPr>
          <a:xfrm>
            <a:off x="1382312" y="658812"/>
            <a:ext cx="4713688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residual_connection.ipynb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5158671-436A-30C8-AE83-0994928605DB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11DE323-96B2-5E2B-54D6-A35DC19AF989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290DB2F-C748-9375-CCCA-D813E5DA81B5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5DCD9CE-D166-E0EE-11C7-A6007008656B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6398FC0-F33A-AA45-EB85-9F9CDE6D5D30}"/>
              </a:ext>
            </a:extLst>
          </p:cNvPr>
          <p:cNvSpPr txBox="1"/>
          <p:nvPr/>
        </p:nvSpPr>
        <p:spPr>
          <a:xfrm>
            <a:off x="295541" y="1158291"/>
            <a:ext cx="6830075" cy="535531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sidualConne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te configura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5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048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th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ResidualConnectio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and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class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residual_connectio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sidualConn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eed_forwar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B11A1B-75DE-7BA2-DC69-D2B655A0C787}"/>
              </a:ext>
            </a:extLst>
          </p:cNvPr>
          <p:cNvSpPr txBox="1"/>
          <p:nvPr/>
        </p:nvSpPr>
        <p:spPr>
          <a:xfrm>
            <a:off x="7125617" y="1249310"/>
            <a:ext cx="4901539" cy="36933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 random input tenso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reproducibl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l residual conne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residual_conn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eed_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Initial input tensor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Output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Output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56F32E-C081-622E-BEBF-0B9BA43EC7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616" y="4942629"/>
            <a:ext cx="4000847" cy="1806097"/>
          </a:xfrm>
          <a:prstGeom prst="rect">
            <a:avLst/>
          </a:prstGeom>
          <a:ln>
            <a:solidFill>
              <a:srgbClr val="00994D"/>
            </a:solidFill>
          </a:ln>
        </p:spPr>
      </p:pic>
      <p:pic>
        <p:nvPicPr>
          <p:cNvPr id="2" name="Picture 2" descr="Project Jupyter - Wikipedia">
            <a:extLst>
              <a:ext uri="{FF2B5EF4-FFF2-40B4-BE49-F238E27FC236}">
                <a16:creationId xmlns:a16="http://schemas.microsoft.com/office/drawing/2014/main" id="{B9FDA6DB-ADB7-EE96-E853-68B33FEF53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124" y="693396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9898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2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8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6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4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9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87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9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1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61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79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136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197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418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619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84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3001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6351283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774996-FE95-4C89-28EA-0B8532A944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AACC22-6242-4665-2CAF-CAC2968B5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building block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CEC8EFE1-38B9-704E-995E-916E939AE9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54EAB587-609E-C705-5C99-A5B6FF783BA0}"/>
              </a:ext>
            </a:extLst>
          </p:cNvPr>
          <p:cNvSpPr/>
          <p:nvPr/>
        </p:nvSpPr>
        <p:spPr>
          <a:xfrm>
            <a:off x="11350862" y="3971548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4C65A9-804B-0AC4-8B05-2A800FDD62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Arrow: Left 2">
            <a:extLst>
              <a:ext uri="{FF2B5EF4-FFF2-40B4-BE49-F238E27FC236}">
                <a16:creationId xmlns:a16="http://schemas.microsoft.com/office/drawing/2014/main" id="{5FC01575-A9B9-2634-DFF7-FCAC2C422985}"/>
              </a:ext>
            </a:extLst>
          </p:cNvPr>
          <p:cNvSpPr/>
          <p:nvPr/>
        </p:nvSpPr>
        <p:spPr>
          <a:xfrm rot="13316652" flipH="1">
            <a:off x="3012619" y="2827782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658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</p:bld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370DEF-F528-BE66-B541-668789CB41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7F8064F-888A-7664-CE0A-62F161AD036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Projec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130A991-3189-0703-9774-30CFAD884C08}"/>
              </a:ext>
            </a:extLst>
          </p:cNvPr>
          <p:cNvSpPr/>
          <p:nvPr/>
        </p:nvSpPr>
        <p:spPr>
          <a:xfrm>
            <a:off x="241421" y="658813"/>
            <a:ext cx="11716281" cy="47934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F84D06-E330-B2B2-2E20-C400486B6634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5355A6-A9E3-0BF7-1325-B7618FE8EAF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yer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A3A14F6-53E8-FC90-88C7-51FA01FCABEE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B945641-682F-5B50-B0D4-B0CA3A4909D3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1C2ED78-84CC-DFE7-4E54-B5EC19D113D1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C4B3F7E8-03D2-C42C-D100-84EDF1E29122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064330B-DC93-1B3B-F08C-32B0471F812B}"/>
              </a:ext>
            </a:extLst>
          </p:cNvPr>
          <p:cNvSpPr txBox="1"/>
          <p:nvPr/>
        </p:nvSpPr>
        <p:spPr>
          <a:xfrm>
            <a:off x="295541" y="1204946"/>
            <a:ext cx="11662161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oj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linear transformation </a:t>
            </a:r>
          </a:p>
          <a:p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        #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that projects the input into the vocabulary space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rojectio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inea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ward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x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t applies the linear transformation to the inpu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roj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vocab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C4AAD6E0-5B4E-AF3B-A311-B7899B6EFB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673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4630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6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43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4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94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66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727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928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D5FBEA-5359-3CF8-8C67-077C51D496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3075436-0839-031E-D44A-900ECB72FD3F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Projec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B37EAB-AB94-883D-4057-A013DFABCAEF}"/>
              </a:ext>
            </a:extLst>
          </p:cNvPr>
          <p:cNvSpPr/>
          <p:nvPr/>
        </p:nvSpPr>
        <p:spPr>
          <a:xfrm>
            <a:off x="234297" y="658811"/>
            <a:ext cx="11792860" cy="61317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9526237-372A-497E-1415-C55E303A9647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3755D3-25D3-1046-14E9-34326B7801AB}"/>
              </a:ext>
            </a:extLst>
          </p:cNvPr>
          <p:cNvSpPr/>
          <p:nvPr/>
        </p:nvSpPr>
        <p:spPr>
          <a:xfrm>
            <a:off x="1382312" y="658812"/>
            <a:ext cx="3924626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projection.ipynb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114AB10-5DAC-C860-5628-582686C90732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4F7461E-6082-D16A-F031-ABAB5856535D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293E1C89-6E74-54BE-5531-05059CA966AF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866E4BC-47D3-F0DE-8D10-46A38B64331E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6E981E5-BFF6-89BD-E7D0-FF0D021F2087}"/>
              </a:ext>
            </a:extLst>
          </p:cNvPr>
          <p:cNvSpPr txBox="1"/>
          <p:nvPr/>
        </p:nvSpPr>
        <p:spPr>
          <a:xfrm>
            <a:off x="295541" y="1158291"/>
            <a:ext cx="6830075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oje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te configura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5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7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the Projection cla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jection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oj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 random tensor to represent a batch of sequenc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reproducible resul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620FD6-4288-5227-A9DB-436AE16E4A02}"/>
              </a:ext>
            </a:extLst>
          </p:cNvPr>
          <p:cNvSpPr txBox="1"/>
          <p:nvPr/>
        </p:nvSpPr>
        <p:spPr>
          <a:xfrm>
            <a:off x="7125617" y="1249310"/>
            <a:ext cx="4901539" cy="230832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ss the tensor through the proje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proj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Initial input tensor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Output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Output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57AB64E-368D-8A89-9A19-A90B2AFA4B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616" y="3697447"/>
            <a:ext cx="4770843" cy="1640404"/>
          </a:xfrm>
          <a:prstGeom prst="rect">
            <a:avLst/>
          </a:prstGeom>
          <a:ln>
            <a:solidFill>
              <a:srgbClr val="00994D"/>
            </a:solidFill>
          </a:ln>
        </p:spPr>
      </p:pic>
      <p:pic>
        <p:nvPicPr>
          <p:cNvPr id="2" name="Picture 2" descr="Project Jupyter - Wikipedia">
            <a:extLst>
              <a:ext uri="{FF2B5EF4-FFF2-40B4-BE49-F238E27FC236}">
                <a16:creationId xmlns:a16="http://schemas.microsoft.com/office/drawing/2014/main" id="{9E887B0C-03DB-16EC-2556-8096EF670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124" y="693396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8253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4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8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6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2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0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97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7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39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73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85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956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157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318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539"/>
                            </p:stCondLst>
                            <p:childTnLst>
                              <p:par>
                                <p:cTn id="6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79238-A5F8-B54D-C07B-87E52E3F09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4520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i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11193379" cy="4919421"/>
          </a:xfrm>
        </p:spPr>
        <p:txBody>
          <a:bodyPr>
            <a:normAutofit/>
          </a:bodyPr>
          <a:lstStyle/>
          <a:p>
            <a:r>
              <a:rPr lang="en-US" dirty="0"/>
              <a:t>Linux: Default terminal emulator, …</a:t>
            </a:r>
          </a:p>
          <a:p>
            <a:r>
              <a:rPr lang="en-US" dirty="0"/>
              <a:t>MacOS: Terminal, </a:t>
            </a:r>
            <a:r>
              <a:rPr lang="en-US" b="1" dirty="0"/>
              <a:t>iTerm2 (</a:t>
            </a:r>
            <a:r>
              <a:rPr lang="en-US" b="1" dirty="0">
                <a:hlinkClick r:id="rId2"/>
              </a:rPr>
              <a:t>https://iterm2.com/downloads.html</a:t>
            </a:r>
            <a:r>
              <a:rPr lang="en-US" b="1" dirty="0"/>
              <a:t>)</a:t>
            </a:r>
            <a:r>
              <a:rPr lang="en-US" dirty="0"/>
              <a:t>, …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F71C83-0D65-30C5-3A0E-73F4806468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5886" y="2971321"/>
            <a:ext cx="7650484" cy="3521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731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D0EAF-8D03-4905-1BBE-91ECC28C46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56353F-5AC7-BA27-9A70-EB3372CBE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/function to create transformer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A3F2EEA9-5138-140F-B9DC-ECA73EF8D2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D62474D-07BB-DBCD-0012-94568FFB37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64105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D08E47-8FD5-D9DC-F73B-90BE34B60B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2643083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B2EBD-2EF9-0B5D-C135-C3E82917F8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C9D7C7-0BE4-5A8A-F7D7-ADFA7831B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/function to create transformer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5749A6D3-2242-7C6C-BD5D-CFC21410B8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86C95C5-08BB-AE36-90E5-B4C83A4D2C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Arrow: Left 5">
            <a:extLst>
              <a:ext uri="{FF2B5EF4-FFF2-40B4-BE49-F238E27FC236}">
                <a16:creationId xmlns:a16="http://schemas.microsoft.com/office/drawing/2014/main" id="{5C185F05-4A3E-B204-E47E-E62A755000F3}"/>
              </a:ext>
            </a:extLst>
          </p:cNvPr>
          <p:cNvSpPr/>
          <p:nvPr/>
        </p:nvSpPr>
        <p:spPr>
          <a:xfrm rot="2556482">
            <a:off x="9128956" y="5969979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EAC8A3A-F429-EA95-03CB-53E763BA4234}"/>
              </a:ext>
            </a:extLst>
          </p:cNvPr>
          <p:cNvSpPr/>
          <p:nvPr/>
        </p:nvSpPr>
        <p:spPr>
          <a:xfrm>
            <a:off x="1102406" y="3589234"/>
            <a:ext cx="1076771" cy="150405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Left 2">
            <a:extLst>
              <a:ext uri="{FF2B5EF4-FFF2-40B4-BE49-F238E27FC236}">
                <a16:creationId xmlns:a16="http://schemas.microsoft.com/office/drawing/2014/main" id="{C4854D69-6150-43BE-2089-442757A14098}"/>
              </a:ext>
            </a:extLst>
          </p:cNvPr>
          <p:cNvSpPr/>
          <p:nvPr/>
        </p:nvSpPr>
        <p:spPr>
          <a:xfrm flipH="1">
            <a:off x="726191" y="3749891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727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3" grpId="0" animBg="1"/>
    </p:bld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240D4D-42FD-E843-0158-6468DFF48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5C652E85-2FED-1075-9F6F-0A6EAF69C51C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8AA993-6FF4-92A3-A9D1-C77550A550F2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057C670-EC2B-116C-6E59-9AE5EB863160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73FCB83-C29E-7D62-364C-694275FC4B77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coder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47B56CC-CA9F-7CE5-741B-F375BAEA417B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20873CC5-6BDC-EA3A-58C8-A3BA863925BD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EFB00888-53EC-5019-8E7D-86143DD79599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D8C4A95C-AE02-9A22-FE67-0CD98A35BB03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CCF63975-17DD-E379-1804-8643E256A5CD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651878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coder Lay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C763E4-C744-19E9-4D7B-23DBD7273F99}"/>
              </a:ext>
            </a:extLst>
          </p:cNvPr>
          <p:cNvSpPr txBox="1"/>
          <p:nvPr/>
        </p:nvSpPr>
        <p:spPr>
          <a:xfrm>
            <a:off x="291979" y="1306708"/>
            <a:ext cx="11593795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sidualConn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Norm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lf_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feed_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  	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	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_attentio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lf_atten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feed_forwar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feed_forward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residual connections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esidual_connection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Lis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sidualConn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)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_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g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6C09D836-770F-1DD5-1FE2-5FF35D0A9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0362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4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2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1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8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36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4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48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669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17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17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8B44FC-D3F2-6485-A515-BEC0901554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2F94B2FB-C59F-787D-10E4-AAD74D97DEE3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52DB96D-DC0B-21F7-D195-DF9A8E81BC4B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6038A9E-1E29-90A0-F3EC-6D0B889FBD93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59F9038-40FD-3FC8-A8F7-40C74BA3801D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coder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F9215C7-18D3-9447-DE42-CB48FD2D539E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0FDAEAB-A90A-3CE7-4693-C9BD115E5EAE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F5A6C02-7CF8-07D6-EE1A-1D9AE2657D22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74474ED5-0322-6FE2-0FE4-948C857E27DB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E20AC4E0-C4D0-7F6C-D207-08728C487A4D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651878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coder Lay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428004-6CF3-CC7C-2850-B47C19E86467}"/>
              </a:ext>
            </a:extLst>
          </p:cNvPr>
          <p:cNvSpPr txBox="1"/>
          <p:nvPr/>
        </p:nvSpPr>
        <p:spPr>
          <a:xfrm>
            <a:off x="291979" y="1306708"/>
            <a:ext cx="11593795" cy="36933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lvl="1"/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ward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cr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x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pPr lvl="1"/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irst, it applies the self-attention mechanism to the input inside a residual 		connection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esidual_connection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(x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lambda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: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_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c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pPr lvl="1"/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hen, it passes the result through the feed-forward network inside another 		residual connection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esidual_connection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(x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feed_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pPr lvl="1"/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8A261AAD-2BF1-D365-1008-D12D65511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2747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4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6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62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883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4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825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186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186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D08E47-8FD5-D9DC-F73B-90BE34B60B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0231919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C8B12B-8CE9-873A-0B78-BEA9E2F99C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7D77D-921E-8A30-9F03-BBD2C59C5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/function to create transformer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D13FA8F2-9619-1580-719C-F8C5C940D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0E4DC33-966D-73D9-1AB3-D1C20B956F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Arrow: Left 5">
            <a:extLst>
              <a:ext uri="{FF2B5EF4-FFF2-40B4-BE49-F238E27FC236}">
                <a16:creationId xmlns:a16="http://schemas.microsoft.com/office/drawing/2014/main" id="{79E3A6DF-2FA5-B660-47EE-A7236B5CF5AA}"/>
              </a:ext>
            </a:extLst>
          </p:cNvPr>
          <p:cNvSpPr/>
          <p:nvPr/>
        </p:nvSpPr>
        <p:spPr>
          <a:xfrm rot="2556482">
            <a:off x="9060589" y="5653785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0EF3B2-8ED1-5236-3101-F03C2326E07F}"/>
              </a:ext>
            </a:extLst>
          </p:cNvPr>
          <p:cNvSpPr/>
          <p:nvPr/>
        </p:nvSpPr>
        <p:spPr>
          <a:xfrm>
            <a:off x="838200" y="3589234"/>
            <a:ext cx="1340978" cy="150405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Left 2">
            <a:extLst>
              <a:ext uri="{FF2B5EF4-FFF2-40B4-BE49-F238E27FC236}">
                <a16:creationId xmlns:a16="http://schemas.microsoft.com/office/drawing/2014/main" id="{A1324769-0927-30E0-2F56-FBE660E27528}"/>
              </a:ext>
            </a:extLst>
          </p:cNvPr>
          <p:cNvSpPr/>
          <p:nvPr/>
        </p:nvSpPr>
        <p:spPr>
          <a:xfrm flipH="1">
            <a:off x="471360" y="3697138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574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3" grpId="0" animBg="1"/>
    </p:bld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C3CC9B-AA0F-D167-A3E4-143C0AEA77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4F6124D8-8C69-4EC8-6B3F-56F2D3EE5756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EF6754-3E78-6525-CF24-89410BE8C541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2A8542C-1686-A16F-6B33-1C2061CE9051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4E74B42-4FCA-C305-FA2F-42E3A46401CF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coder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5DE554B-2821-E62D-C48F-19A5EF2112F7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B4A1EA3C-1A22-9D92-411D-CF47F4E434E7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081371DD-15DB-F4D5-6F47-2CDEF66E58B8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A68B1975-B533-3B0A-BE1B-9DEB851B3149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2884EB3D-098D-D3B2-64C7-71E004BC9890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2400300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co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DC5362-CE17-8878-9786-0737BA0B4549}"/>
              </a:ext>
            </a:extLst>
          </p:cNvPr>
          <p:cNvSpPr txBox="1"/>
          <p:nvPr/>
        </p:nvSpPr>
        <p:spPr>
          <a:xfrm>
            <a:off x="291979" y="1306708"/>
            <a:ext cx="11593795" cy="36933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num_layer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	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layers of the encoder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ayer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Lis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layer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_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g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num_layer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layer normalization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nor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Nor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</a:p>
        </p:txBody>
      </p:sp>
      <p:pic>
        <p:nvPicPr>
          <p:cNvPr id="3" name="Picture 6" descr="Python (programming language) - Wikipedia">
            <a:extLst>
              <a:ext uri="{FF2B5EF4-FFF2-40B4-BE49-F238E27FC236}">
                <a16:creationId xmlns:a16="http://schemas.microsoft.com/office/drawing/2014/main" id="{6DB90824-2A5F-2ECA-84AC-14A872A983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9205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66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43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90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30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305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426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627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627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7030EA-E6B9-81AB-5D93-EFACA8A0D9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9E689850-42F8-EF82-B70E-52163A249F6D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31B1A34-657F-3522-16D0-A227BD92AD77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698818A-8C3D-1FFE-FE77-39769C73E66A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82B5D46-4767-2C7A-2427-061072D8E8D4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coder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CACFC05-59BD-395B-046B-3B92DBFBF167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E71280ED-6BE9-31D8-141E-B3B4D6C1A797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D51C910C-428C-841E-C87C-0D2C9C405A58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56347AA-E6F5-1659-5A10-185326136E40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ECCA2343-E6B8-518D-0DE5-F991C49B4B32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2400300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co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0542E5-86B9-3E51-9716-D167C1278926}"/>
              </a:ext>
            </a:extLst>
          </p:cNvPr>
          <p:cNvSpPr txBox="1"/>
          <p:nvPr/>
        </p:nvSpPr>
        <p:spPr>
          <a:xfrm>
            <a:off x="291979" y="1306708"/>
            <a:ext cx="11593795" cy="286232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   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he forward method is called when we pass input data into this module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ward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cr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x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t passes the input through each layer in turn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layer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ayer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c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inally, it applies layer normalization to the output of the last layer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nor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)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" name="Picture 6" descr="Python (programming language) - Wikipedia">
            <a:extLst>
              <a:ext uri="{FF2B5EF4-FFF2-40B4-BE49-F238E27FC236}">
                <a16:creationId xmlns:a16="http://schemas.microsoft.com/office/drawing/2014/main" id="{211A1AA6-EECC-32B1-F1B8-F512FF18DA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18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6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8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883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10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4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446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446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747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79E974-D858-42E5-362F-D9B74D19A2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A39ACB7C-21F8-DCA9-4D98-CDFF3E7C52A3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D455C7A-1D19-0DF2-DDBB-F42EC93CC94E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402E644-203A-A6E3-C560-6BEE5164258F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42C5C58-648C-2090-0BBD-B6AB323F62C9}"/>
                </a:ext>
              </a:extLst>
            </p:cNvPr>
            <p:cNvSpPr/>
            <p:nvPr/>
          </p:nvSpPr>
          <p:spPr>
            <a:xfrm>
              <a:off x="1371628" y="752023"/>
              <a:ext cx="3619116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nb_encoder.ipynb</a:t>
              </a:r>
              <a:endParaRPr lang="en-US" dirty="0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53E1AAF-33A1-FB67-4672-F1FA5C6DC36A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D09A246C-43D7-10B5-1FC8-23292B13CA79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F526905B-7CE5-C7AF-D212-E71DE0768511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CB50BD75-0968-A9EC-916B-E6DAAB6FF14A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DE9DA1EC-9F97-6765-5241-8CD704BC8D65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7108723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- Enco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384CC1-12CA-0FE3-3088-BB7C27D2EFE4}"/>
              </a:ext>
            </a:extLst>
          </p:cNvPr>
          <p:cNvSpPr txBox="1"/>
          <p:nvPr/>
        </p:nvSpPr>
        <p:spPr>
          <a:xfrm>
            <a:off x="288800" y="1239144"/>
            <a:ext cx="6433561" cy="480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Norm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efine configura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eature dimens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 number of head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ropout ratio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048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he dimension of the feed forward networ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batch siz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equence length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num_layer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number of encoder lay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ADDE7A-C716-86F5-5E74-5927E3D10E44}"/>
              </a:ext>
            </a:extLst>
          </p:cNvPr>
          <p:cNvSpPr txBox="1"/>
          <p:nvPr/>
        </p:nvSpPr>
        <p:spPr>
          <a:xfrm>
            <a:off x="6786783" y="1239144"/>
            <a:ext cx="5113238" cy="5355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th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&amp;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class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lf_attention_engin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eed_forwar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th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EncoderLayer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cla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lf_attention_engi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eed_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the Encoder cla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num_layer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0" name="Picture 2" descr="Project Jupyter - Wikipedia">
            <a:extLst>
              <a:ext uri="{FF2B5EF4-FFF2-40B4-BE49-F238E27FC236}">
                <a16:creationId xmlns:a16="http://schemas.microsoft.com/office/drawing/2014/main" id="{C6505048-1470-483A-EE15-54E4403C7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541" y="7777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6056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2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4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8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8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43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43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611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912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213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354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775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916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Installing Python (</a:t>
            </a:r>
            <a:r>
              <a:rPr lang="en-US" dirty="0">
                <a:hlinkClick r:id="rId2"/>
              </a:rPr>
              <a:t>https://www.python.org/downloads/</a:t>
            </a:r>
            <a:r>
              <a:rPr lang="en-US" dirty="0"/>
              <a:t>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214A69-98B0-6CAA-5145-9380EADFFF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1916" y="2482809"/>
            <a:ext cx="8915400" cy="3829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604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683D9C-0E3B-E07A-E07B-5B79AA3B4E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8A0C4876-97E4-5F30-11B8-CE8D3B8CB94C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7AA647-5C58-D7B3-455A-5499D9225701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C9917E1-DBC3-7449-B740-986560F10B31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F04B399-A68F-FBB9-A204-F6F9CF7B19E1}"/>
                </a:ext>
              </a:extLst>
            </p:cNvPr>
            <p:cNvSpPr/>
            <p:nvPr/>
          </p:nvSpPr>
          <p:spPr>
            <a:xfrm>
              <a:off x="1371628" y="752023"/>
              <a:ext cx="3619116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nb_encoder.ipynb</a:t>
              </a:r>
              <a:endParaRPr lang="en-US" dirty="0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204E789-DB2A-B65F-3EA5-BD30049E86A6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D186728D-4F37-EAD9-85B2-9F8BF7845480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9DC2BCB8-A670-EA3C-D30C-93A87C451C97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AE5016C0-0F3D-613C-64BA-4019BC4D6310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7DBE7874-56A5-6A20-3086-FB140F508017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7108723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- Enco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CFC5FD-3976-532B-4186-1EF499185244}"/>
              </a:ext>
            </a:extLst>
          </p:cNvPr>
          <p:cNvSpPr txBox="1"/>
          <p:nvPr/>
        </p:nvSpPr>
        <p:spPr>
          <a:xfrm>
            <a:off x="291979" y="1239144"/>
            <a:ext cx="6433561" cy="36933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 random tensor to represent a batch of sequenc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reproducible result of random proce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ss the tensor through the encod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en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Initial input tensor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 Output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 Output's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F7AEFB-AB42-E79D-B089-98BDF5B23C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0050" y="3761403"/>
            <a:ext cx="5116417" cy="2342120"/>
          </a:xfrm>
          <a:prstGeom prst="rect">
            <a:avLst/>
          </a:prstGeom>
          <a:ln>
            <a:solidFill>
              <a:srgbClr val="00994D"/>
            </a:solidFill>
          </a:ln>
        </p:spPr>
      </p:pic>
      <p:pic>
        <p:nvPicPr>
          <p:cNvPr id="20" name="Picture 2" descr="Project Jupyter - Wikipedia">
            <a:extLst>
              <a:ext uri="{FF2B5EF4-FFF2-40B4-BE49-F238E27FC236}">
                <a16:creationId xmlns:a16="http://schemas.microsoft.com/office/drawing/2014/main" id="{0E18F8A8-B2AC-1A23-2CDF-3B373E23F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541" y="7777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3115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8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8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38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628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7354040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244BBD-B0D7-A225-7A0B-82D2BE0597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58C32C-A358-72B6-07E3-21FE8A2EE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/function to create transformer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F7D7696B-3A97-DFBA-3E16-F6CC542F63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105C2A0-F5D0-9517-7CEC-BD5C0BDD46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Arrow: Left 5">
            <a:extLst>
              <a:ext uri="{FF2B5EF4-FFF2-40B4-BE49-F238E27FC236}">
                <a16:creationId xmlns:a16="http://schemas.microsoft.com/office/drawing/2014/main" id="{4A5694A8-5269-1A17-B418-FE272AEBE9C4}"/>
              </a:ext>
            </a:extLst>
          </p:cNvPr>
          <p:cNvSpPr/>
          <p:nvPr/>
        </p:nvSpPr>
        <p:spPr>
          <a:xfrm rot="2556482">
            <a:off x="7641987" y="5926060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4E5A24-B1AC-D74E-893C-2C5D6330B205}"/>
              </a:ext>
            </a:extLst>
          </p:cNvPr>
          <p:cNvSpPr/>
          <p:nvPr/>
        </p:nvSpPr>
        <p:spPr>
          <a:xfrm>
            <a:off x="2239177" y="2905570"/>
            <a:ext cx="1068045" cy="218772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Left 2">
            <a:extLst>
              <a:ext uri="{FF2B5EF4-FFF2-40B4-BE49-F238E27FC236}">
                <a16:creationId xmlns:a16="http://schemas.microsoft.com/office/drawing/2014/main" id="{E8494241-A58E-85A9-AF13-45DCA3635EFE}"/>
              </a:ext>
            </a:extLst>
          </p:cNvPr>
          <p:cNvSpPr/>
          <p:nvPr/>
        </p:nvSpPr>
        <p:spPr>
          <a:xfrm rot="10800000" flipH="1">
            <a:off x="3383379" y="2905570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432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3" grpId="0" animBg="1"/>
    </p:bld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52CD0E-61C5-0291-5E9B-3ADA9056A6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65C8C09B-7F43-A270-CEEE-18BF455E8D3C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2700D9E-EB44-DE6D-B065-2E8BC6CEEC48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CFCBB51-D74A-3E5E-4C35-1C1E9FACEA9F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62F2642-53C7-723A-65EE-9729FB2CF477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decoder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99A1D5F-E8B0-FE56-AC2A-0736FDEEA8E2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5DBF246D-BF1A-D897-2B4A-ED391AF7BDE5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F32598F9-5917-BB2E-7574-5F86D043C084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D72DE8A-1EC0-49A5-7F65-67A2EC60BB15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749A8FBE-A21A-E831-6047-DE74C951688F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458054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Decoder Lay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336349-ED48-18F7-D7DB-73D7E42E55DB}"/>
              </a:ext>
            </a:extLst>
          </p:cNvPr>
          <p:cNvSpPr txBox="1"/>
          <p:nvPr/>
        </p:nvSpPr>
        <p:spPr>
          <a:xfrm>
            <a:off x="291979" y="1306708"/>
            <a:ext cx="11593795" cy="535531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sidualConnection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Norm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noProof="1">
              <a:solidFill>
                <a:srgbClr val="FF9D00"/>
              </a:solidFill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Layer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init__</a:t>
            </a:r>
            <a:r>
              <a:rPr lang="en-US" b="0" noProof="1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: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lf_attention: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noProof="1">
                <a:solidFill>
                  <a:srgbClr val="9EFFFF"/>
                </a:solidFill>
                <a:latin typeface="Consolas" panose="020B0609020204030204" pitchFamily="49" charset="0"/>
              </a:rPr>
              <a:t>		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decoder_attention:</a:t>
            </a:r>
            <a:r>
              <a:rPr lang="en-US" noProof="1">
                <a:solidFill>
                  <a:srgbClr val="9EFFFF"/>
                </a:solidFill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noProof="1">
                <a:solidFill>
                  <a:srgbClr val="9EFFFF"/>
                </a:solidFill>
                <a:latin typeface="Consolas" panose="020B0609020204030204" pitchFamily="49" charset="0"/>
              </a:rPr>
              <a:t>		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feed_forward: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: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lang="en-US" b="0" noProof="1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init__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        </a:t>
            </a: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_attention_engine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lf_attention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ncoder_decoder_attention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decoder_attention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feed_forward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feed_forward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noProof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residual connections.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esidual_connections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noProof="1">
                <a:solidFill>
                  <a:srgbClr val="FFFFFF"/>
                </a:solidFill>
                <a:latin typeface="Consolas" panose="020B0609020204030204" pitchFamily="49" charset="0"/>
              </a:rPr>
              <a:t>	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List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sidualConnection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_model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ropout)</a:t>
            </a:r>
            <a:r>
              <a:rPr lang="en-US" noProof="1">
                <a:solidFill>
                  <a:srgbClr val="FB94FF"/>
                </a:solidFill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_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ge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noProof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])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287CF7B6-BE99-50A4-7304-B73BA58C73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851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4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80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94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8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6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48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74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93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93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51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172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553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23D9C9-2A30-6406-7759-C4CB6EF662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C2274ADE-7005-CEF0-3AE1-7F9D36624DC7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D0DF5C2-CC3B-2EDA-B1A4-975A44708E44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D8BB947-5B69-D2B1-8A99-B44E435D9066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8445DDB-3FC9-A687-7BC1-B7353F7BECDB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decoder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66D8C9D-BCB4-122B-82A7-8A5275A157DE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EDE8C5F-EC45-C492-4040-9941244574E8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7F6C6829-878C-CD65-9DC6-9B21D566FA3F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A234992C-17DD-0E78-D67E-701ABBAF3DC7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29D5D31F-40C8-32B7-DD3A-00026E7E0F4B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458054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Decoder Lay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E0DDE0-6378-468F-C192-EEDFBDF5B255}"/>
              </a:ext>
            </a:extLst>
          </p:cNvPr>
          <p:cNvSpPr txBox="1"/>
          <p:nvPr/>
        </p:nvSpPr>
        <p:spPr>
          <a:xfrm>
            <a:off x="291979" y="1306708"/>
            <a:ext cx="11593795" cy="36933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b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ward</a:t>
            </a:r>
            <a:r>
              <a:rPr lang="en-US" b="0" noProof="1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output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rc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tgt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noProof="1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i="1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lang="en-US" b="0" i="1" noProof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x: [batch_size, seq_</a:t>
            </a:r>
            <a:r>
              <a:rPr lang="en-US" i="1" noProof="1">
                <a:solidFill>
                  <a:srgbClr val="0088FF"/>
                </a:solidFill>
                <a:latin typeface="Consolas" panose="020B0609020204030204" pitchFamily="49" charset="0"/>
              </a:rPr>
              <a:t>de</a:t>
            </a:r>
            <a:r>
              <a:rPr lang="en-US" b="0" i="1" noProof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d_model]</a:t>
            </a:r>
            <a:r>
              <a:rPr lang="en-US" noProof="1">
                <a:solidFill>
                  <a:srgbClr val="FFFFFF"/>
                </a:solidFill>
                <a:latin typeface="Consolas" panose="020B0609020204030204" pitchFamily="49" charset="0"/>
              </a:rPr>
              <a:t>, </a:t>
            </a:r>
            <a:r>
              <a:rPr lang="en-US" b="0" i="1" noProof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encoder_output: [batch_size, seq_len, d_model]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noProof="1">
                <a:solidFill>
                  <a:srgbClr val="FFFFFF"/>
                </a:solidFill>
                <a:latin typeface="Consolas" panose="020B0609020204030204" pitchFamily="49" charset="0"/>
              </a:rPr>
              <a:t>	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esidual_connections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noProof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(x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lambda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: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_attention_engine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tgt))</a:t>
            </a:r>
          </a:p>
          <a:p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esidual_connections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noProof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(x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lambda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: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ncoder_decoder_attention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output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output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rc))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</a:t>
            </a: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     </a:t>
            </a: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esidual_connections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noProof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(x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feed_forward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27AD7989-C125-9EA0-521E-4A842F4802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6024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6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1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122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803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6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64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925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925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2669731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F4C1E4-3726-2D47-EB5C-1927D8157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8B741-F1F8-666A-CDD0-00AF028C39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/function to create transformer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584FDB3A-756D-394A-E500-EBF443626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EBCF61B-6DEF-5E39-AE8B-F3802626F1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Arrow: Left 5">
            <a:extLst>
              <a:ext uri="{FF2B5EF4-FFF2-40B4-BE49-F238E27FC236}">
                <a16:creationId xmlns:a16="http://schemas.microsoft.com/office/drawing/2014/main" id="{F2DFC65A-14A0-6BFD-8987-4425F2B42EA3}"/>
              </a:ext>
            </a:extLst>
          </p:cNvPr>
          <p:cNvSpPr/>
          <p:nvPr/>
        </p:nvSpPr>
        <p:spPr>
          <a:xfrm rot="2556482">
            <a:off x="7578963" y="5669686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7F65B1-66AC-8B41-E094-A3248CFFA1A1}"/>
              </a:ext>
            </a:extLst>
          </p:cNvPr>
          <p:cNvSpPr/>
          <p:nvPr/>
        </p:nvSpPr>
        <p:spPr>
          <a:xfrm>
            <a:off x="2239177" y="2905570"/>
            <a:ext cx="1307328" cy="218772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Left 2">
            <a:extLst>
              <a:ext uri="{FF2B5EF4-FFF2-40B4-BE49-F238E27FC236}">
                <a16:creationId xmlns:a16="http://schemas.microsoft.com/office/drawing/2014/main" id="{065BC520-00E6-564F-14A0-38982A3BFBAF}"/>
              </a:ext>
            </a:extLst>
          </p:cNvPr>
          <p:cNvSpPr/>
          <p:nvPr/>
        </p:nvSpPr>
        <p:spPr>
          <a:xfrm rot="10800000" flipH="1">
            <a:off x="3571163" y="4382678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18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3" grpId="0" animBg="1"/>
    </p:bld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D0931C-0956-5C7F-A68E-1328B2A8C0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DB1630A4-F320-F7F2-319C-7C20458F8DD8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53268E5-53DD-FB0D-FC33-2D466CC7D8D8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6C5B375-6086-9752-E6B1-9C4A42072F46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10B52ED-77EB-40BF-9596-D79D716D76ED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decoder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A658D74-63CC-9237-48C5-FCAE1B904D94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3BE1418-8F01-931A-9486-81FFB8A43E88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9A49B7AF-A8C2-971D-6EF7-112C6C1ABD31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C11EFDB3-1C2D-FBFB-27F2-CE58F6454E1D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1085C47A-344D-295D-3FD8-5B4A6886097F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2400300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Deco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C97364-03A9-4889-89A7-CB4EB499ED87}"/>
              </a:ext>
            </a:extLst>
          </p:cNvPr>
          <p:cNvSpPr txBox="1"/>
          <p:nvPr/>
        </p:nvSpPr>
        <p:spPr>
          <a:xfrm>
            <a:off x="291979" y="1306708"/>
            <a:ext cx="11593795" cy="36933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init__</a:t>
            </a:r>
            <a:r>
              <a:rPr lang="en-US" b="0" noProof="1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: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_layer: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Layer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num_layers: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noProof="1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 	 	 </a:t>
            </a:r>
            <a:r>
              <a:rPr lang="en-US" b="0" noProof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init__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noProof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layers of the decoder.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ayers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List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decoder_layer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_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ge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num_layers)])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noProof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layer normalization.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norm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Norm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_model)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C9DCE1E4-4D1C-F352-87FC-6B5D3B9F4A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35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8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83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94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34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345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466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667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667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25774F-6A39-6887-ADB1-CCF43C47B6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718428BC-D874-1C6C-61F8-E4B17231DDB7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6337BD9-A7D0-3238-4CCC-F3C64A931EA3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ABFC4C8-519C-8780-89D6-E724C862EB7C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D62489-B496-4517-8DC3-A56C9C70CEC4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decoder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3D43ECD5-85D7-7719-F706-28D7620DCB89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65489D19-0456-F6AE-8F10-5FB0D7828B17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03F78DDC-952B-8998-0426-9788DBCD695D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117ABDDE-532E-78AA-D692-897F1CCCA212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37CDB24A-FE04-ABCB-6FD0-E1AF936B3FED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2400300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Deco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5C698C-186A-BD92-48C3-DB20B3494072}"/>
              </a:ext>
            </a:extLst>
          </p:cNvPr>
          <p:cNvSpPr txBox="1"/>
          <p:nvPr/>
        </p:nvSpPr>
        <p:spPr>
          <a:xfrm>
            <a:off x="291979" y="1306708"/>
            <a:ext cx="11593795" cy="341632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ward</a:t>
            </a:r>
            <a:r>
              <a:rPr lang="en-US" b="0" noProof="1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output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rc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tgt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noProof="1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noProof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x: [batch_size, seq_len, d_model]</a:t>
            </a:r>
          </a:p>
          <a:p>
            <a:endParaRPr lang="en-US" b="0" i="1" noProof="1">
              <a:solidFill>
                <a:srgbClr val="0088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i="1" noProof="1">
                <a:solidFill>
                  <a:srgbClr val="0088FF"/>
                </a:solidFill>
                <a:latin typeface="Consolas" panose="020B0609020204030204" pitchFamily="49" charset="0"/>
              </a:rPr>
              <a:t>        </a:t>
            </a:r>
            <a:r>
              <a:rPr lang="en-US" b="0" i="1" noProof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t passes the input and the encoder output through each layer in turn.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layer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ayers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layer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output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rc,</a:t>
            </a:r>
            <a:r>
              <a:rPr lang="en-US" b="0" noProof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tgt)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noProof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inally, it applies layer normalization to the output of the last layer.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noProof="1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noProof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noProof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norm</a:t>
            </a:r>
            <a:r>
              <a:rPr lang="en-US" b="0" noProof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) </a:t>
            </a:r>
            <a:r>
              <a:rPr lang="en-US" b="0" i="1" noProof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batch_size, seq_len, d_model].</a:t>
            </a:r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noProof="1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518366D3-8452-6D94-4C45-E5B4CB809D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4055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61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82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83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2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8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85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86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8C62E-7D16-3E64-6BD1-38DBF14B7F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3F10E04C-E089-AE3E-F5D8-B7104F7D72CD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5F5270F-FE92-412D-9D61-6E0A4AC8FB9B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04C7546-B726-D4EC-9B19-6C3AECB9DA03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BD54A45-B3A4-7E0B-D4A7-CAB5F727B2AF}"/>
                </a:ext>
              </a:extLst>
            </p:cNvPr>
            <p:cNvSpPr/>
            <p:nvPr/>
          </p:nvSpPr>
          <p:spPr>
            <a:xfrm>
              <a:off x="1371628" y="752023"/>
              <a:ext cx="3482383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nb_decoder.ipynb</a:t>
              </a:r>
              <a:endParaRPr lang="en-US" dirty="0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BCF4CD4-3DC1-F7FB-0969-83F6DD66E3ED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05E8D7B6-669D-B026-B612-DF4E5BFBE334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6D9BCA00-FFBE-ADBE-9DF9-55ED9987A236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EC59632C-9287-D460-E957-910E04CE45BB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F4180401-614C-7623-E554-B32C8062132D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581968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Deco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B2B47F-E411-53DB-2881-DD1C6031F2E9}"/>
              </a:ext>
            </a:extLst>
          </p:cNvPr>
          <p:cNvSpPr txBox="1"/>
          <p:nvPr/>
        </p:nvSpPr>
        <p:spPr>
          <a:xfrm>
            <a:off x="291979" y="1306708"/>
            <a:ext cx="6433561" cy="452431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Norm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efine configura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eature dimens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 number of head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ropout ratio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048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he dimension of the feed forward networ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batch siz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equence lengt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num_layer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number of encoder layer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795F647-323D-F5A8-77C5-E8699FD6080E}"/>
              </a:ext>
            </a:extLst>
          </p:cNvPr>
          <p:cNvSpPr txBox="1"/>
          <p:nvPr/>
        </p:nvSpPr>
        <p:spPr>
          <a:xfrm>
            <a:off x="6786782" y="1306708"/>
            <a:ext cx="4997867" cy="5355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th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and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class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lf_attentio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decoder_attentio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eed_forwar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th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ecoderLayer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cla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lf_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decoder_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eed_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" name="Picture 2" descr="Project Jupyter - Wikipedia">
            <a:extLst>
              <a:ext uri="{FF2B5EF4-FFF2-40B4-BE49-F238E27FC236}">
                <a16:creationId xmlns:a16="http://schemas.microsoft.com/office/drawing/2014/main" id="{5648E071-CF6C-F653-2C8D-5E6A9BEF70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541" y="7777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6252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2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4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8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12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7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45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63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89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19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49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636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r, install </a:t>
            </a:r>
            <a:r>
              <a:rPr lang="en-US" b="1" dirty="0"/>
              <a:t>Anaconda</a:t>
            </a:r>
            <a:r>
              <a:rPr lang="en-US" dirty="0"/>
              <a:t> with </a:t>
            </a:r>
            <a:r>
              <a:rPr lang="en-US" b="1" dirty="0"/>
              <a:t>Python included (</a:t>
            </a:r>
            <a:r>
              <a:rPr lang="en-US" dirty="0">
                <a:hlinkClick r:id="rId2"/>
              </a:rPr>
              <a:t>https://docs.anaconda.com/free/anaconda/install/</a:t>
            </a:r>
            <a:r>
              <a:rPr lang="en-US" b="1" dirty="0"/>
              <a:t>)</a:t>
            </a:r>
            <a:endParaRPr lang="en-US" dirty="0"/>
          </a:p>
          <a:p>
            <a:pPr lvl="1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165F33-BDD8-DF96-2607-ABF292B32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4938" y="2883629"/>
            <a:ext cx="9902123" cy="342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356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2D8180-C4B6-E4F9-8F1B-E2ED6DA69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327ACB8A-C784-31ED-C3C2-30F29990136F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F2C0285-EF6D-6E9E-2C11-496A34EE4430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3B4BF4D-CEA1-AB5A-3044-BC3DFDD380EB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97B504-75CA-A4CA-B2F9-F3F47D502B13}"/>
                </a:ext>
              </a:extLst>
            </p:cNvPr>
            <p:cNvSpPr/>
            <p:nvPr/>
          </p:nvSpPr>
          <p:spPr>
            <a:xfrm>
              <a:off x="1371628" y="752023"/>
              <a:ext cx="3482383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nb_decoder.ipynb</a:t>
              </a:r>
              <a:endParaRPr lang="en-US" dirty="0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FE01C9E-22C7-BE07-1F96-6077592F5E27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D75AFD7E-B08A-54F9-8698-0ECCCF1C7F8C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F9C7CD0A-8370-5FFE-31E6-7B1C9B7697D5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E6B66D11-2D63-E7CD-7D91-D187F27CFA64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BE54594B-925C-9011-B906-2FC57E59D788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5999148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Deco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4C3A3D-6FB2-8B96-5D60-22CE84CC54DD}"/>
              </a:ext>
            </a:extLst>
          </p:cNvPr>
          <p:cNvSpPr txBox="1"/>
          <p:nvPr/>
        </p:nvSpPr>
        <p:spPr>
          <a:xfrm>
            <a:off x="291979" y="1306708"/>
            <a:ext cx="6433561" cy="480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the Decoder cla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num_layer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 random tensor to represent a batch of sequenc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reproducible result of random proce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endParaRPr lang="en-US" b="0" dirty="0">
              <a:solidFill>
                <a:srgbClr val="FFC6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0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reproducible result of random proce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ss the tensor through the decod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de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" name="Picture 2" descr="Project Jupyter - Wikipedia">
            <a:extLst>
              <a:ext uri="{FF2B5EF4-FFF2-40B4-BE49-F238E27FC236}">
                <a16:creationId xmlns:a16="http://schemas.microsoft.com/office/drawing/2014/main" id="{27F654DE-C393-283E-0EE6-0752ABC150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541" y="7777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C6026C3-9611-DA07-9393-29B7757EBD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0096" y="3216331"/>
            <a:ext cx="5299925" cy="3547394"/>
          </a:xfrm>
          <a:prstGeom prst="rect">
            <a:avLst/>
          </a:prstGeom>
          <a:ln>
            <a:solidFill>
              <a:srgbClr val="00994D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F2227D9-9E78-6831-0387-639F6F21CA4E}"/>
              </a:ext>
            </a:extLst>
          </p:cNvPr>
          <p:cNvSpPr txBox="1"/>
          <p:nvPr/>
        </p:nvSpPr>
        <p:spPr>
          <a:xfrm>
            <a:off x="6786782" y="1306708"/>
            <a:ext cx="4997867" cy="17543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Initial input tensor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 output tensor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 Output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 Output's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</p:txBody>
      </p:sp>
    </p:spTree>
    <p:extLst>
      <p:ext uri="{BB962C8B-B14F-4D97-AF65-F5344CB8AC3E}">
        <p14:creationId xmlns:p14="http://schemas.microsoft.com/office/powerpoint/2010/main" val="4086854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4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4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2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6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4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92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4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22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43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67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85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93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9203133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86CC9D-45FA-BCE4-646B-F3F9EBCD0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8803A6-1651-009A-2131-6A2151F7E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/function to create transformer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B588EF21-B095-1E6C-CA3A-A91703BE7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B949021-E069-39A4-D4F7-3B58860914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Arrow: Left 5">
            <a:extLst>
              <a:ext uri="{FF2B5EF4-FFF2-40B4-BE49-F238E27FC236}">
                <a16:creationId xmlns:a16="http://schemas.microsoft.com/office/drawing/2014/main" id="{3B8C08B9-DD8B-7848-9B60-B8CC775EA307}"/>
              </a:ext>
            </a:extLst>
          </p:cNvPr>
          <p:cNvSpPr/>
          <p:nvPr/>
        </p:nvSpPr>
        <p:spPr>
          <a:xfrm rot="2556482">
            <a:off x="6348369" y="5969979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C7EE5-F80B-1014-4FF3-FC7729F3B4C9}"/>
              </a:ext>
            </a:extLst>
          </p:cNvPr>
          <p:cNvSpPr/>
          <p:nvPr/>
        </p:nvSpPr>
        <p:spPr>
          <a:xfrm>
            <a:off x="793169" y="2674834"/>
            <a:ext cx="2838793" cy="3129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Left 2">
            <a:extLst>
              <a:ext uri="{FF2B5EF4-FFF2-40B4-BE49-F238E27FC236}">
                <a16:creationId xmlns:a16="http://schemas.microsoft.com/office/drawing/2014/main" id="{A713648E-1595-E220-FA02-0747F94568EA}"/>
              </a:ext>
            </a:extLst>
          </p:cNvPr>
          <p:cNvSpPr/>
          <p:nvPr/>
        </p:nvSpPr>
        <p:spPr>
          <a:xfrm flipH="1">
            <a:off x="465728" y="4163261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998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3" grpId="0" animBg="1"/>
    </p:bld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E930CE-8F88-C313-8250-3AE218ECFF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6826B990-E640-C6EE-2C14-47D30A51656E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19FC24F-CD2F-7E82-5B36-792F4DEF858E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5651A78-8F12-7FD4-9E95-EF1E94B80675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1C04B67-2A0D-1A71-1752-4B885ACF09F6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model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34729BD-5995-ECD1-1C50-91B4A510E832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7B54964-3C52-DF12-FEAA-1CEA945801B0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0083B731-CFAF-6741-24CE-F7FDE17F4DFC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F1B5EC1E-98E0-48C4-813F-342903E34AF1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05A76C1A-2DB0-D154-5143-0AD51797C23B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6096001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Transformer cla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43E0871-24BC-5AD2-9583-0C04F1BE8255}"/>
              </a:ext>
            </a:extLst>
          </p:cNvPr>
          <p:cNvSpPr txBox="1"/>
          <p:nvPr/>
        </p:nvSpPr>
        <p:spPr>
          <a:xfrm>
            <a:off x="291979" y="1239144"/>
            <a:ext cx="5279879" cy="507831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putEmbed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ositionalEnco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oje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      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mbed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putEmbed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mbed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putEmbed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os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ositionalEnco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os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ositionalEnco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rojection: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oj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236601-6B41-CB55-3B55-9BA51BBBE32E}"/>
              </a:ext>
            </a:extLst>
          </p:cNvPr>
          <p:cNvSpPr txBox="1"/>
          <p:nvPr/>
        </p:nvSpPr>
        <p:spPr>
          <a:xfrm>
            <a:off x="5633101" y="1239144"/>
            <a:ext cx="6266921" cy="23083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	 sup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nco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eco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mbed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mbed_src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mbed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mbed_tg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os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os_src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os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os_tg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rojectio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roje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" name="Picture 6" descr="Python (programming language) - Wikipedia">
            <a:extLst>
              <a:ext uri="{FF2B5EF4-FFF2-40B4-BE49-F238E27FC236}">
                <a16:creationId xmlns:a16="http://schemas.microsoft.com/office/drawing/2014/main" id="{F077F2EC-AF85-11FE-D6FB-73C0BA75F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6109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8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8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8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88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12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37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45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3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33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614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715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816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997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178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359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254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DF9B13-A0EE-FB71-4D4A-E160F47728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A6F67A46-560D-61DC-C20A-CF8BF67718EC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AF50136-101C-9567-8FD0-17DE7C3F88A9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06A5A54-A04D-AE4B-04A4-F493BA3D4840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CEC6B2A-F7AF-ECFA-98D7-E8016404452D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model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49FE6E3-D78E-24C9-18F6-96EF0FF35160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BDEFDFF6-F44A-B8D7-F079-3DD51893DE89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B6DF9E74-63AC-D05F-7084-EC691EACBF3C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BFC70C83-AFB5-0107-8850-F2A5B6E85AE4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CA265BF5-30A9-7039-CF37-AB2C52BD37EB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646916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Transformer cla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81BCE9-2619-4AE6-D9BF-ADC2F5B048DC}"/>
              </a:ext>
            </a:extLst>
          </p:cNvPr>
          <p:cNvSpPr txBox="1"/>
          <p:nvPr/>
        </p:nvSpPr>
        <p:spPr>
          <a:xfrm>
            <a:off x="291979" y="1239144"/>
            <a:ext cx="11608043" cy="36933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1"/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rc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dirty="0">
              <a:solidFill>
                <a:srgbClr val="FFFFFF"/>
              </a:solidFill>
              <a:latin typeface="Consolas" panose="020B0609020204030204" pitchFamily="49" charset="0"/>
            </a:endParaRPr>
          </a:p>
          <a:p>
            <a:pPr lvl="1"/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	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mbed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	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os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	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n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rc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9E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tgt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mbed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	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os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	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e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ask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oject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	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roj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96CEE1-7342-8949-B54E-747A0B952D33}"/>
              </a:ext>
            </a:extLst>
          </p:cNvPr>
          <p:cNvSpPr txBox="1"/>
          <p:nvPr/>
        </p:nvSpPr>
        <p:spPr>
          <a:xfrm>
            <a:off x="5633101" y="1239144"/>
            <a:ext cx="6266921" cy="3693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1"/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" name="Picture 6" descr="Python (programming language) - Wikipedia">
            <a:extLst>
              <a:ext uri="{FF2B5EF4-FFF2-40B4-BE49-F238E27FC236}">
                <a16:creationId xmlns:a16="http://schemas.microsoft.com/office/drawing/2014/main" id="{4107C146-E010-E4D7-45A0-6159FF213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9247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4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0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82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82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6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446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627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988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988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129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893325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90AB1B-7D6C-A1CF-78E3-79CD2593A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183B5C-39F3-D518-23E3-4890128B8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/function to create transformer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42599F44-12A6-82BA-95C0-1BC7112BEC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BD9BF3A-C7AD-2A2F-6ADE-DB6E018ED9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Arrow: Left 5">
            <a:extLst>
              <a:ext uri="{FF2B5EF4-FFF2-40B4-BE49-F238E27FC236}">
                <a16:creationId xmlns:a16="http://schemas.microsoft.com/office/drawing/2014/main" id="{DF697638-B4C9-EEC3-7BB9-C8118D922C2C}"/>
              </a:ext>
            </a:extLst>
          </p:cNvPr>
          <p:cNvSpPr/>
          <p:nvPr/>
        </p:nvSpPr>
        <p:spPr>
          <a:xfrm>
            <a:off x="11350862" y="1938337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93C4AE-30DC-D433-8751-150A3871D87D}"/>
              </a:ext>
            </a:extLst>
          </p:cNvPr>
          <p:cNvSpPr/>
          <p:nvPr/>
        </p:nvSpPr>
        <p:spPr>
          <a:xfrm>
            <a:off x="793169" y="2674834"/>
            <a:ext cx="2838793" cy="3129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431E493-3245-A4C7-AD32-DDBC6F2E26C8}"/>
              </a:ext>
            </a:extLst>
          </p:cNvPr>
          <p:cNvSpPr/>
          <p:nvPr/>
        </p:nvSpPr>
        <p:spPr>
          <a:xfrm>
            <a:off x="9595337" y="3187582"/>
            <a:ext cx="1755525" cy="26919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F39E92-B842-2ED7-17D9-3C7BE988A2BD}"/>
              </a:ext>
            </a:extLst>
          </p:cNvPr>
          <p:cNvSpPr/>
          <p:nvPr/>
        </p:nvSpPr>
        <p:spPr>
          <a:xfrm>
            <a:off x="5659548" y="5754977"/>
            <a:ext cx="954897" cy="26919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Left 2">
            <a:extLst>
              <a:ext uri="{FF2B5EF4-FFF2-40B4-BE49-F238E27FC236}">
                <a16:creationId xmlns:a16="http://schemas.microsoft.com/office/drawing/2014/main" id="{62475FBB-1020-B4EC-8FB8-BB307121682A}"/>
              </a:ext>
            </a:extLst>
          </p:cNvPr>
          <p:cNvSpPr/>
          <p:nvPr/>
        </p:nvSpPr>
        <p:spPr>
          <a:xfrm flipH="1">
            <a:off x="465728" y="4163261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868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  <p:bldP spid="10" grpId="0" animBg="1"/>
      <p:bldP spid="3" grpId="0" animBg="1"/>
    </p:bld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EA375-ED9B-77E7-B2CE-C69BF9BB9E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7B5524CC-2D47-26D9-1502-1C8F4E4E9931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C285E3E-773B-DA50-9BC1-F70DECAD5B1C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9FEF165-7DC7-6D80-108D-A30A9ECA2CDC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EE521ED-5414-0644-1E1E-830C58EDF6FF}"/>
                </a:ext>
              </a:extLst>
            </p:cNvPr>
            <p:cNvSpPr/>
            <p:nvPr/>
          </p:nvSpPr>
          <p:spPr>
            <a:xfrm>
              <a:off x="1371629" y="752023"/>
              <a:ext cx="2132148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utils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B08C2CB-057F-18AD-3F59-64D26570315C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8DA6D83-32DE-7E98-ADE3-E091D5ED6AB5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459907BF-5944-095D-CD35-F307AA51D378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78B182D5-6235-5098-CFD7-244BBA7467B5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7EF57BD0-AC88-D6AE-B655-2845D6634966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876798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tils – Create transformer mod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EFFCE2-1B2D-E8C2-560F-05E2F2520CAF}"/>
              </a:ext>
            </a:extLst>
          </p:cNvPr>
          <p:cNvSpPr txBox="1"/>
          <p:nvPr/>
        </p:nvSpPr>
        <p:spPr>
          <a:xfrm>
            <a:off x="291979" y="1239144"/>
            <a:ext cx="11458488" cy="42473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tranformer_model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ocab_size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ocab_size_tgt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Extract parameters from the configura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num_layer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num_layer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h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dropo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source and target embedding layer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mbed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putEmbed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ocab_size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mbed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putEmbed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ocab_size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</a:p>
        </p:txBody>
      </p:sp>
      <p:pic>
        <p:nvPicPr>
          <p:cNvPr id="3" name="Picture 6" descr="Python (programming language) - Wikipedia">
            <a:extLst>
              <a:ext uri="{FF2B5EF4-FFF2-40B4-BE49-F238E27FC236}">
                <a16:creationId xmlns:a16="http://schemas.microsoft.com/office/drawing/2014/main" id="{BF3FB8BD-5F73-C40B-C2AB-FDB394BA6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4409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6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6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0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12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32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4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64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80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13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45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B9C993-EBAD-061D-77D6-64E96B3984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1A84C180-307C-477F-A2D6-DE55CC3FB084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649E607-5478-360C-C33D-E62FDCCA7414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6FC9306-FBAC-1571-077E-E1C2A28AA885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26B1F94-7E7F-009E-A9DA-FAF8FF95C939}"/>
                </a:ext>
              </a:extLst>
            </p:cNvPr>
            <p:cNvSpPr/>
            <p:nvPr/>
          </p:nvSpPr>
          <p:spPr>
            <a:xfrm>
              <a:off x="1371629" y="752023"/>
              <a:ext cx="2132148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utils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2D59A4E2-2E9F-507C-3440-6F4AE39C56A1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2B7C884C-8147-ABC4-3CF9-01AE0EA659BC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72A84BD5-CF6A-5413-E3EC-D97FCC5D79C6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CFA5C80-5DE1-AFEF-AFD9-D772F4C11E71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3835F502-3497-9F0A-158F-BB75FFF64D50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876798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tils – Create transformer mod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4BEEA7-34A2-9A0E-674A-FB4D6C2B32EC}"/>
              </a:ext>
            </a:extLst>
          </p:cNvPr>
          <p:cNvSpPr txBox="1"/>
          <p:nvPr/>
        </p:nvSpPr>
        <p:spPr>
          <a:xfrm>
            <a:off x="291978" y="1239144"/>
            <a:ext cx="11608043" cy="36933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   # Initialize the source &amp; target positional encoding 	layer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os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ositionalEnco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os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ositionalEnco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pPr lvl="1"/>
            <a:endParaRPr lang="en-US" b="0" i="1" dirty="0">
              <a:solidFill>
                <a:srgbClr val="0088FF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encoder with self-attention and feed-forward layer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lf_attention_enco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	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eed_forward_enco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  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		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lf_attention_en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eed_forward_en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encoder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num_layer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B0D102-6536-76BE-0B57-06946C0EDE87}"/>
              </a:ext>
            </a:extLst>
          </p:cNvPr>
          <p:cNvSpPr txBox="1"/>
          <p:nvPr/>
        </p:nvSpPr>
        <p:spPr>
          <a:xfrm>
            <a:off x="6624414" y="1239144"/>
            <a:ext cx="5275608" cy="3693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1"/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" name="Picture 6" descr="Python (programming language) - Wikipedia">
            <a:extLst>
              <a:ext uri="{FF2B5EF4-FFF2-40B4-BE49-F238E27FC236}">
                <a16:creationId xmlns:a16="http://schemas.microsoft.com/office/drawing/2014/main" id="{A51965AE-4661-E96A-9F2B-FB0A398052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9487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8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2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3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30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666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666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787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128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D4C983-3461-8714-0EF8-A3620AC64C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44853B47-0A48-5EEF-AA11-FF91C8451C3F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0E28594-90FE-EF1A-CB48-FDDC5ABE5198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9AF3EFD-CE01-DD39-AC22-6C8AA42050B1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36CD9A-04CC-4FFA-D948-439D7DA78BDE}"/>
                </a:ext>
              </a:extLst>
            </p:cNvPr>
            <p:cNvSpPr/>
            <p:nvPr/>
          </p:nvSpPr>
          <p:spPr>
            <a:xfrm>
              <a:off x="1371628" y="752023"/>
              <a:ext cx="2130552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utils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4EE619D-C3CD-6CB3-6412-999B5CAA40A9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6E4C4571-C53E-2FB7-A68A-4275CDF89ACA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C5553FC-7C7C-5C6F-5D19-872B86B926A4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E3758F30-909D-5E01-55B3-81CB25B9246A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A752CBE9-146F-EC18-3475-93EA926E6BA0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860282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tils – Create transformer mod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48691B4-C5ED-B8D0-B6BA-91A717DF299B}"/>
              </a:ext>
            </a:extLst>
          </p:cNvPr>
          <p:cNvSpPr txBox="1"/>
          <p:nvPr/>
        </p:nvSpPr>
        <p:spPr>
          <a:xfrm>
            <a:off x="291979" y="1239144"/>
            <a:ext cx="11543946" cy="480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1"/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decoder with self-attention, encoder-decoder attention, and feed-forward layer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lf_attention_deco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decoder_attentio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ultiHead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eed_forward_deco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eedFor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f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lf_attention_de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decoder_atten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eed_forward_de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decoder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lay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num_layer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E1E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   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projection lay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projection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oj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ocab_size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" name="Picture 6" descr="Python (programming language) - Wikipedia">
            <a:extLst>
              <a:ext uri="{FF2B5EF4-FFF2-40B4-BE49-F238E27FC236}">
                <a16:creationId xmlns:a16="http://schemas.microsoft.com/office/drawing/2014/main" id="{6D1445F2-61DF-F845-F163-BD1C85B061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534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4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6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8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4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36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44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6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68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80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8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87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19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9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enviro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1040454" cy="4919421"/>
          </a:xfrm>
        </p:spPr>
        <p:txBody>
          <a:bodyPr>
            <a:normAutofit/>
          </a:bodyPr>
          <a:lstStyle/>
          <a:p>
            <a:r>
              <a:rPr lang="en-US" dirty="0"/>
              <a:t> Using  `</a:t>
            </a:r>
            <a:r>
              <a:rPr lang="en-US" b="1" dirty="0"/>
              <a:t> </a:t>
            </a:r>
            <a:r>
              <a:rPr lang="en-US" b="1" dirty="0" err="1"/>
              <a:t>venv</a:t>
            </a:r>
            <a:r>
              <a:rPr lang="en-US" b="1" dirty="0"/>
              <a:t> </a:t>
            </a:r>
            <a:r>
              <a:rPr lang="en-US" dirty="0"/>
              <a:t>`</a:t>
            </a:r>
            <a:r>
              <a:rPr lang="en-US" b="1" dirty="0"/>
              <a:t>, </a:t>
            </a:r>
            <a:r>
              <a:rPr lang="en-US" dirty="0"/>
              <a:t>a module included in Python 3.3 &amp; later versions 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04E929-70AC-FD53-B5D2-9C6C590C5D6C}"/>
              </a:ext>
            </a:extLst>
          </p:cNvPr>
          <p:cNvSpPr txBox="1"/>
          <p:nvPr/>
        </p:nvSpPr>
        <p:spPr>
          <a:xfrm>
            <a:off x="1233444" y="2355666"/>
            <a:ext cx="9725113" cy="424731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</a:t>
            </a:r>
            <a:r>
              <a:rPr lang="en-US" b="1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Create Python environment with `</a:t>
            </a:r>
            <a:r>
              <a:rPr lang="en-US" b="1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venv</a:t>
            </a:r>
            <a:r>
              <a:rPr lang="en-US" b="1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`</a:t>
            </a:r>
            <a:endParaRPr lang="en-US" b="0" dirty="0">
              <a:solidFill>
                <a:srgbClr val="ECFC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# Navigate into the project directory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cd path/to/your/project 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# Create Python environment, </a:t>
            </a:r>
            <a:r>
              <a:rPr lang="en-US" b="0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eg.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 named ".</a:t>
            </a:r>
            <a:r>
              <a:rPr lang="en-US" b="0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"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python -m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.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# (For Linux, MacOS, you may need to use `python3` instead of `python`)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Activate ".</a:t>
            </a:r>
            <a:r>
              <a:rPr lang="en-US" b="1" dirty="0" err="1">
                <a:solidFill>
                  <a:srgbClr val="ECFC0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" environment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.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\Scripts\activate 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# For Window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source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/bin/activate 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# For Linux, MacOS</a:t>
            </a:r>
          </a:p>
          <a:p>
            <a:endParaRPr lang="en-US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Install required Python packages and start working. (Next slides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Deactivate ".</a:t>
            </a:r>
            <a:r>
              <a:rPr lang="en-US" b="1" dirty="0" err="1">
                <a:solidFill>
                  <a:srgbClr val="ECFC0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" environment after finishing the dev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deactiv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93669E-9A2D-125C-C84D-E9629D95D3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5708" y="4566088"/>
            <a:ext cx="3600450" cy="2286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DFD1917-5484-9CE1-06E4-9E666B61C4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5708" y="6306895"/>
            <a:ext cx="29813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94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41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42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23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44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645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746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927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148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389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7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CDD6D5-7855-A649-D97C-34A762E42B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780939CD-66FF-6520-F55B-E7717ADCBE1B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386AF9D-7265-DA3C-B47C-13E0D197889F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F26E8E1-FBDB-F7DF-7DE8-3C471367F86A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39B06D1-D0C4-1895-2A98-3136EE4E0BC0}"/>
                </a:ext>
              </a:extLst>
            </p:cNvPr>
            <p:cNvSpPr/>
            <p:nvPr/>
          </p:nvSpPr>
          <p:spPr>
            <a:xfrm>
              <a:off x="1371628" y="752023"/>
              <a:ext cx="2130552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utils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1CB11EF-0774-45B4-733D-EC8F21017B1D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FF860211-D0BD-90D0-7558-F181E7E3CE9D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E3B4C0C-0519-8A7B-328D-9B43E1F7456B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6B09E3AD-C3AA-3758-B5C7-B5804035B4D3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90B67F93-9D2E-A2CB-8AA4-8632F698515B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860282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tils – Create transformer mod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F06678-9A3C-7EB8-BE5B-ECE0717BA5D5}"/>
              </a:ext>
            </a:extLst>
          </p:cNvPr>
          <p:cNvSpPr txBox="1"/>
          <p:nvPr/>
        </p:nvSpPr>
        <p:spPr>
          <a:xfrm>
            <a:off x="291979" y="1239144"/>
            <a:ext cx="11552492" cy="480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Transformer model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transformer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mbed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mbed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os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os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je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model parameters with Xavier    	uniform distribu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param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arameter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ram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i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xavier_uniform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ra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transformer</a:t>
            </a:r>
          </a:p>
        </p:txBody>
      </p:sp>
      <p:pic>
        <p:nvPicPr>
          <p:cNvPr id="3" name="Picture 6" descr="Python (programming language) - Wikipedia">
            <a:extLst>
              <a:ext uri="{FF2B5EF4-FFF2-40B4-BE49-F238E27FC236}">
                <a16:creationId xmlns:a16="http://schemas.microsoft.com/office/drawing/2014/main" id="{53DD6A63-C384-ECD9-7267-FEFAD84191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0969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8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2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6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4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2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8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2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83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7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13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33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18333B-6629-5A31-3137-4AD1DB54D9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1F77EC5-5513-3FF0-63C7-6CC3868CE1DC}"/>
              </a:ext>
            </a:extLst>
          </p:cNvPr>
          <p:cNvSpPr/>
          <p:nvPr/>
        </p:nvSpPr>
        <p:spPr>
          <a:xfrm>
            <a:off x="230736" y="752024"/>
            <a:ext cx="11716285" cy="60117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7C9343E-04CD-48EB-BCF2-17C01F84D481}"/>
              </a:ext>
            </a:extLst>
          </p:cNvPr>
          <p:cNvSpPr/>
          <p:nvPr/>
        </p:nvSpPr>
        <p:spPr>
          <a:xfrm>
            <a:off x="223614" y="752024"/>
            <a:ext cx="11730527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E5F49D-4992-536C-8E5E-817F1ED5F421}"/>
              </a:ext>
            </a:extLst>
          </p:cNvPr>
          <p:cNvSpPr/>
          <p:nvPr/>
        </p:nvSpPr>
        <p:spPr>
          <a:xfrm>
            <a:off x="1371628" y="752023"/>
            <a:ext cx="3918219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transformer.ipynb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96FE007-DF42-1C16-C160-4C814A5ABD08}"/>
              </a:ext>
            </a:extLst>
          </p:cNvPr>
          <p:cNvGrpSpPr/>
          <p:nvPr/>
        </p:nvGrpSpPr>
        <p:grpSpPr>
          <a:xfrm>
            <a:off x="455082" y="905852"/>
            <a:ext cx="653739" cy="170917"/>
            <a:chOff x="779821" y="1187864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0DB5FDB-6783-9532-FCF8-6D3BE3224A2F}"/>
                </a:ext>
              </a:extLst>
            </p:cNvPr>
            <p:cNvSpPr/>
            <p:nvPr/>
          </p:nvSpPr>
          <p:spPr>
            <a:xfrm>
              <a:off x="779821" y="1196411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41431A5-AD16-37B7-4025-B632B34BF1FA}"/>
                </a:ext>
              </a:extLst>
            </p:cNvPr>
            <p:cNvSpPr/>
            <p:nvPr/>
          </p:nvSpPr>
          <p:spPr>
            <a:xfrm>
              <a:off x="1044736" y="1187864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F63A1E36-224A-9F05-7C25-BDC35BFC14F5}"/>
                </a:ext>
              </a:extLst>
            </p:cNvPr>
            <p:cNvSpPr/>
            <p:nvPr/>
          </p:nvSpPr>
          <p:spPr>
            <a:xfrm>
              <a:off x="1271190" y="1187864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00B41AD7-1FA2-CCA6-7E80-5FEC1CE3A0FB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1039384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ut it all together – Playground transform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4292CE-B949-702D-972D-A2B6CED15DEC}"/>
              </a:ext>
            </a:extLst>
          </p:cNvPr>
          <p:cNvSpPr txBox="1"/>
          <p:nvPr/>
        </p:nvSpPr>
        <p:spPr>
          <a:xfrm>
            <a:off x="291979" y="1306708"/>
            <a:ext cx="6433561" cy="480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tranformer_model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# Get Config, dataset, tokenizer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onfig.js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sourc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targe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" name="Picture 2" descr="Project Jupyter - Wikipedia">
            <a:extLst>
              <a:ext uri="{FF2B5EF4-FFF2-40B4-BE49-F238E27FC236}">
                <a16:creationId xmlns:a16="http://schemas.microsoft.com/office/drawing/2014/main" id="{89F8AF31-52F7-6A75-D072-8949563DBF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541" y="7777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221F59A-7971-BFAB-F5BD-8AA590C40E08}"/>
              </a:ext>
            </a:extLst>
          </p:cNvPr>
          <p:cNvSpPr txBox="1"/>
          <p:nvPr/>
        </p:nvSpPr>
        <p:spPr>
          <a:xfrm>
            <a:off x="6786782" y="1306708"/>
            <a:ext cx="4997867" cy="480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# Define model, random input and get random outpu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efine the dimensions and vocabulary siz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efine the parameters for the transformer model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0000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0000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00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transformer model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nsformer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tranformer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998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2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2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4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9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16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30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6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99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17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9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43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55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676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757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838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919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06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3101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3222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3343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7C3803-AB4F-01C5-946D-E24B9ED42F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33B036C-6B50-BCB1-BDB7-B3A6789EA7F2}"/>
              </a:ext>
            </a:extLst>
          </p:cNvPr>
          <p:cNvSpPr/>
          <p:nvPr/>
        </p:nvSpPr>
        <p:spPr>
          <a:xfrm>
            <a:off x="230736" y="752024"/>
            <a:ext cx="11716285" cy="60117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1047FE-53FA-1D21-1CC2-E0FB9483A5E1}"/>
              </a:ext>
            </a:extLst>
          </p:cNvPr>
          <p:cNvSpPr/>
          <p:nvPr/>
        </p:nvSpPr>
        <p:spPr>
          <a:xfrm>
            <a:off x="223614" y="752024"/>
            <a:ext cx="11730527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B301E0C-F8C5-897A-55ED-F3F07EC89D3C}"/>
              </a:ext>
            </a:extLst>
          </p:cNvPr>
          <p:cNvGrpSpPr/>
          <p:nvPr/>
        </p:nvGrpSpPr>
        <p:grpSpPr>
          <a:xfrm>
            <a:off x="455082" y="905852"/>
            <a:ext cx="653739" cy="170917"/>
            <a:chOff x="779821" y="1187864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50A3ABF-FAC4-F338-1AC5-34877899B093}"/>
                </a:ext>
              </a:extLst>
            </p:cNvPr>
            <p:cNvSpPr/>
            <p:nvPr/>
          </p:nvSpPr>
          <p:spPr>
            <a:xfrm>
              <a:off x="779821" y="1196411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00E73EF-9F86-466C-E793-5FC7E00F8AA4}"/>
                </a:ext>
              </a:extLst>
            </p:cNvPr>
            <p:cNvSpPr/>
            <p:nvPr/>
          </p:nvSpPr>
          <p:spPr>
            <a:xfrm>
              <a:off x="1044736" y="1187864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1D75619-F68F-99A4-9BEC-D7B31110C935}"/>
                </a:ext>
              </a:extLst>
            </p:cNvPr>
            <p:cNvSpPr/>
            <p:nvPr/>
          </p:nvSpPr>
          <p:spPr>
            <a:xfrm>
              <a:off x="1271190" y="1187864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E9BFC1C4-6310-FBFA-F17F-B01A21B26DB0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1039384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ut it all together – Playground transform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CB022E-9806-BBD8-06E6-3ACD6C738DB2}"/>
              </a:ext>
            </a:extLst>
          </p:cNvPr>
          <p:cNvSpPr txBox="1"/>
          <p:nvPr/>
        </p:nvSpPr>
        <p:spPr>
          <a:xfrm>
            <a:off x="291979" y="1306708"/>
            <a:ext cx="6433561" cy="5355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Now you can use the transformer model for encoding, decoding, and projectin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example, to encode a batch of source sequences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reproducible result of random proce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and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nd to decode a batch of target sequences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manual_see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0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for reproducible result of random proce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rand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E88477F-F8EB-371C-DE3E-957EA0B67B3B}"/>
              </a:ext>
            </a:extLst>
          </p:cNvPr>
          <p:cNvSpPr txBox="1"/>
          <p:nvPr/>
        </p:nvSpPr>
        <p:spPr>
          <a:xfrm>
            <a:off x="6786782" y="1306708"/>
            <a:ext cx="4997867" cy="480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nd to project the decoder output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jected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ojec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predicted_tok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is th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indic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of the max value in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projection_outpu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s_tensor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ma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jected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onvert predicted tokens to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numpy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array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s_tensor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quee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eta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pu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numpy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1A6BE48-8DAA-189C-1D8D-50B53E27ED77}"/>
              </a:ext>
            </a:extLst>
          </p:cNvPr>
          <p:cNvSpPr/>
          <p:nvPr/>
        </p:nvSpPr>
        <p:spPr>
          <a:xfrm>
            <a:off x="1371628" y="752023"/>
            <a:ext cx="3918219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transformer.ipynb</a:t>
            </a:r>
            <a:endParaRPr lang="en-US" dirty="0"/>
          </a:p>
        </p:txBody>
      </p:sp>
      <p:pic>
        <p:nvPicPr>
          <p:cNvPr id="5" name="Picture 4" descr="Project Jupyter - Wikipedia">
            <a:extLst>
              <a:ext uri="{FF2B5EF4-FFF2-40B4-BE49-F238E27FC236}">
                <a16:creationId xmlns:a16="http://schemas.microsoft.com/office/drawing/2014/main" id="{A9B6DC78-8576-28C1-55F4-AEC2013CB3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541" y="7777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2116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8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8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42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6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8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6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0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96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969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11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331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612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973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94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355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CFE6AF-5370-48AA-A7A5-EB9A454D4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4AAF96-4CBA-CB5F-C195-4E4B0F790B16}"/>
              </a:ext>
            </a:extLst>
          </p:cNvPr>
          <p:cNvSpPr/>
          <p:nvPr/>
        </p:nvSpPr>
        <p:spPr>
          <a:xfrm>
            <a:off x="230736" y="752024"/>
            <a:ext cx="11716285" cy="60117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3BFDD46-6D09-56D1-81C3-F2A32A877B94}"/>
              </a:ext>
            </a:extLst>
          </p:cNvPr>
          <p:cNvSpPr/>
          <p:nvPr/>
        </p:nvSpPr>
        <p:spPr>
          <a:xfrm>
            <a:off x="223614" y="752024"/>
            <a:ext cx="11730527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7B772AD-63A5-F16B-900B-8FE8EDBE9085}"/>
              </a:ext>
            </a:extLst>
          </p:cNvPr>
          <p:cNvGrpSpPr/>
          <p:nvPr/>
        </p:nvGrpSpPr>
        <p:grpSpPr>
          <a:xfrm>
            <a:off x="455082" y="905852"/>
            <a:ext cx="653739" cy="170917"/>
            <a:chOff x="779821" y="1187864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5A080A3-C434-9CA5-005B-303962ACEBEE}"/>
                </a:ext>
              </a:extLst>
            </p:cNvPr>
            <p:cNvSpPr/>
            <p:nvPr/>
          </p:nvSpPr>
          <p:spPr>
            <a:xfrm>
              <a:off x="779821" y="1196411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A2718C4-1C34-3E01-A778-CEEA5D1456D9}"/>
                </a:ext>
              </a:extLst>
            </p:cNvPr>
            <p:cNvSpPr/>
            <p:nvPr/>
          </p:nvSpPr>
          <p:spPr>
            <a:xfrm>
              <a:off x="1044736" y="1187864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03C803E-CDED-37A0-5275-47C8341BCF8A}"/>
                </a:ext>
              </a:extLst>
            </p:cNvPr>
            <p:cNvSpPr/>
            <p:nvPr/>
          </p:nvSpPr>
          <p:spPr>
            <a:xfrm>
              <a:off x="1271190" y="1187864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BF982DBA-9A8B-8F63-E8A4-D78F7DE88A68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1039384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ut it all together – Playground transform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E320B0-C286-8441-5929-E56783DA0839}"/>
              </a:ext>
            </a:extLst>
          </p:cNvPr>
          <p:cNvSpPr txBox="1"/>
          <p:nvPr/>
        </p:nvSpPr>
        <p:spPr>
          <a:xfrm>
            <a:off x="291979" y="1306708"/>
            <a:ext cx="9894608" cy="452431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# Find the EOS toke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d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o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umerat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o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os_idx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dx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brea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# Get predicted sequence until EO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_sequenc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: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os_id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# Word decod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ss the tensor through the target tokeniz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d_wor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e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_sequen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Predicted sequenc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d_wor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B744F9-6840-870B-E12E-9E4AB3B4E4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172" y="5784965"/>
            <a:ext cx="7058025" cy="590550"/>
          </a:xfrm>
          <a:prstGeom prst="rect">
            <a:avLst/>
          </a:prstGeom>
          <a:ln>
            <a:solidFill>
              <a:srgbClr val="00994D"/>
            </a:solidFill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F23D49C-2F92-C236-C723-411B3413F11F}"/>
              </a:ext>
            </a:extLst>
          </p:cNvPr>
          <p:cNvSpPr/>
          <p:nvPr/>
        </p:nvSpPr>
        <p:spPr>
          <a:xfrm>
            <a:off x="1371628" y="752023"/>
            <a:ext cx="3918219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transformer.ipynb</a:t>
            </a:r>
            <a:endParaRPr lang="en-US" dirty="0"/>
          </a:p>
        </p:txBody>
      </p:sp>
      <p:pic>
        <p:nvPicPr>
          <p:cNvPr id="18" name="Picture 17" descr="Project Jupyter - Wikipedia">
            <a:extLst>
              <a:ext uri="{FF2B5EF4-FFF2-40B4-BE49-F238E27FC236}">
                <a16:creationId xmlns:a16="http://schemas.microsoft.com/office/drawing/2014/main" id="{B40F1F65-C4A7-8D04-9B22-6A6B97767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541" y="7777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4653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8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8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8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86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0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4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3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71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4686523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963A65-4802-5778-E698-4D9114CFCF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430780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3E050D-DEA9-B921-BE60-5B8F2FD37A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982F92F-2CAF-513B-0A36-020D9D6E14C1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1039384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 err="1"/>
              <a:t>Softmax</a:t>
            </a:r>
            <a:r>
              <a:rPr lang="en-US" dirty="0"/>
              <a:t> function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6A1C57A-5804-BC22-FC50-23B2E5A4DDD3}"/>
              </a:ext>
            </a:extLst>
          </p:cNvPr>
          <p:cNvCxnSpPr>
            <a:cxnSpLocks/>
          </p:cNvCxnSpPr>
          <p:nvPr/>
        </p:nvCxnSpPr>
        <p:spPr>
          <a:xfrm>
            <a:off x="4854586" y="3316548"/>
            <a:ext cx="789062" cy="0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59AF859-34C6-A5D4-4F37-219C4C0F757A}"/>
              </a:ext>
            </a:extLst>
          </p:cNvPr>
          <p:cNvCxnSpPr>
            <a:cxnSpLocks/>
          </p:cNvCxnSpPr>
          <p:nvPr/>
        </p:nvCxnSpPr>
        <p:spPr>
          <a:xfrm>
            <a:off x="4854586" y="4591227"/>
            <a:ext cx="789062" cy="0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D3DCE3D-A9A1-B97E-A072-EAE65099ED73}"/>
                  </a:ext>
                </a:extLst>
              </p:cNvPr>
              <p:cNvSpPr txBox="1"/>
              <p:nvPr/>
            </p:nvSpPr>
            <p:spPr>
              <a:xfrm>
                <a:off x="9168511" y="3537984"/>
                <a:ext cx="1225335" cy="7101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fr-FR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r-FR" b="0" i="1" smtClean="0">
                                      <a:latin typeface="Cambria Math" panose="02040503050406030204" pitchFamily="18" charset="0"/>
                                    </a:rPr>
                                    <m:t>0:1</m:t>
                                  </m:r>
                                </m:e>
                              </m:d>
                            </m:e>
                            <m:e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𝑠𝑢𝑚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D3DCE3D-A9A1-B97E-A072-EAE65099ED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68511" y="3537984"/>
                <a:ext cx="1225335" cy="71019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DB42B8C-87B7-4382-29D2-6933AD4ECE5D}"/>
              </a:ext>
            </a:extLst>
          </p:cNvPr>
          <p:cNvCxnSpPr>
            <a:cxnSpLocks/>
            <a:stCxn id="32" idx="3"/>
          </p:cNvCxnSpPr>
          <p:nvPr/>
        </p:nvCxnSpPr>
        <p:spPr>
          <a:xfrm>
            <a:off x="7543854" y="3316548"/>
            <a:ext cx="1499824" cy="366690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839A377-941A-46AC-507D-075F32D4A9FC}"/>
              </a:ext>
            </a:extLst>
          </p:cNvPr>
          <p:cNvCxnSpPr>
            <a:cxnSpLocks/>
            <a:stCxn id="34" idx="3"/>
          </p:cNvCxnSpPr>
          <p:nvPr/>
        </p:nvCxnSpPr>
        <p:spPr>
          <a:xfrm flipV="1">
            <a:off x="7555160" y="4063512"/>
            <a:ext cx="1488518" cy="527715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A01FE31-BFC9-CC34-A6E7-58DF0B97BB0C}"/>
                  </a:ext>
                </a:extLst>
              </p:cNvPr>
              <p:cNvSpPr txBox="1"/>
              <p:nvPr/>
            </p:nvSpPr>
            <p:spPr>
              <a:xfrm>
                <a:off x="4795627" y="2139206"/>
                <a:ext cx="906979" cy="758926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r-FR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FR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  <m:sub>
                                  <m:r>
                                    <a:rPr lang="fr-FR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ctrlPr>
                                <a:rPr lang="en-US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fr-FR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fr-FR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r-FR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i="1" smtClean="0">
                                          <a:solidFill>
                                            <a:schemeClr val="bg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fr-FR" b="0" i="1" smtClean="0">
                                          <a:solidFill>
                                            <a:schemeClr val="bg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𝑋</m:t>
                                      </m:r>
                                    </m:e>
                                    <m:sub>
                                      <m:r>
                                        <a:rPr lang="fr-FR" b="0" i="1" smtClean="0">
                                          <a:solidFill>
                                            <a:schemeClr val="bg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sub>
                                  </m:sSub>
                                </m:sup>
                              </m:sSup>
                            </m:e>
                          </m:nary>
                        </m:den>
                      </m:f>
                    </m:oMath>
                  </m:oMathPara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A01FE31-BFC9-CC34-A6E7-58DF0B97BB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95627" y="2139206"/>
                <a:ext cx="906979" cy="75892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FFB15348-9B02-E08A-0A7C-38F0CC08E917}"/>
                  </a:ext>
                </a:extLst>
              </p:cNvPr>
              <p:cNvSpPr txBox="1"/>
              <p:nvPr/>
            </p:nvSpPr>
            <p:spPr>
              <a:xfrm>
                <a:off x="2966615" y="2904993"/>
                <a:ext cx="554767" cy="823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FFB15348-9B02-E08A-0A7C-38F0CC08E9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66615" y="2904993"/>
                <a:ext cx="554767" cy="8231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51F6DF65-CF39-F701-A707-92C3068DCE49}"/>
                  </a:ext>
                </a:extLst>
              </p:cNvPr>
              <p:cNvSpPr txBox="1"/>
              <p:nvPr/>
            </p:nvSpPr>
            <p:spPr>
              <a:xfrm>
                <a:off x="6384754" y="2898132"/>
                <a:ext cx="1159100" cy="836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m:rPr>
                                  <m:nor/>
                                </m:rPr>
                                <a:rPr lang="en-US" dirty="0"/>
                                <m:t>0.</m:t>
                              </m:r>
                              <m:r>
                                <m:rPr>
                                  <m:nor/>
                                </m:rPr>
                                <a:rPr lang="fr-FR" b="0" i="0" dirty="0" smtClean="0"/>
                                <m:t>0420</m:t>
                              </m:r>
                            </m:e>
                            <m:e>
                              <m:r>
                                <m:rPr>
                                  <m:nor/>
                                </m:rPr>
                                <a:rPr lang="en-US" dirty="0"/>
                                <m:t>0.</m:t>
                              </m:r>
                              <m:r>
                                <m:rPr>
                                  <m:nor/>
                                </m:rPr>
                                <a:rPr lang="fr-FR" b="0" i="0" dirty="0" smtClean="0"/>
                                <m:t>11</m:t>
                              </m:r>
                              <m:r>
                                <m:rPr>
                                  <m:nor/>
                                </m:rPr>
                                <a:rPr lang="en-US" dirty="0"/>
                                <m:t>4</m:t>
                              </m:r>
                              <m:r>
                                <m:rPr>
                                  <m:nor/>
                                </m:rPr>
                                <a:rPr lang="fr-FR" b="0" i="0" dirty="0" smtClean="0"/>
                                <m:t>2</m:t>
                              </m:r>
                            </m:e>
                            <m:e>
                              <m:r>
                                <m:rPr>
                                  <m:nor/>
                                </m:rPr>
                                <a:rPr lang="en-US" dirty="0"/>
                                <m:t>0.</m:t>
                              </m:r>
                              <m:r>
                                <a:rPr lang="fr-FR" b="0" i="1" dirty="0" smtClean="0">
                                  <a:latin typeface="Cambria Math" panose="02040503050406030204" pitchFamily="18" charset="0"/>
                                </a:rPr>
                                <m:t>8438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51F6DF65-CF39-F701-A707-92C3068DCE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84754" y="2898132"/>
                <a:ext cx="1159100" cy="8368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8C132ED-F95C-F737-1DEA-BF82C92AAAE9}"/>
                  </a:ext>
                </a:extLst>
              </p:cNvPr>
              <p:cNvSpPr txBox="1"/>
              <p:nvPr/>
            </p:nvSpPr>
            <p:spPr>
              <a:xfrm>
                <a:off x="2686923" y="4154473"/>
                <a:ext cx="1290481" cy="873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0.123</m:t>
                              </m:r>
                            </m:e>
                            <m:e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0.246</m:t>
                              </m:r>
                            </m:e>
                            <m:e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𝑛𝑝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.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𝑖𝑛𝑓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8C132ED-F95C-F737-1DEA-BF82C92AAA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86923" y="4154473"/>
                <a:ext cx="1290481" cy="87350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471B6C97-1DF8-0360-8095-B28A995055DF}"/>
                  </a:ext>
                </a:extLst>
              </p:cNvPr>
              <p:cNvSpPr txBox="1"/>
              <p:nvPr/>
            </p:nvSpPr>
            <p:spPr>
              <a:xfrm>
                <a:off x="6396060" y="4165662"/>
                <a:ext cx="1159100" cy="8511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m:rPr>
                                  <m:nor/>
                                </m:rPr>
                                <a:rPr lang="en-US" dirty="0"/>
                                <m:t>0.4648</m:t>
                              </m:r>
                            </m:e>
                            <m:e>
                              <m:r>
                                <m:rPr>
                                  <m:nor/>
                                </m:rPr>
                                <a:rPr lang="en-US" dirty="0"/>
                                <m:t>0.5352</m:t>
                              </m:r>
                            </m:e>
                            <m:e>
                              <m:r>
                                <m:rPr>
                                  <m:nor/>
                                </m:rPr>
                                <a:rPr lang="fr-FR" b="0" i="0" dirty="0" smtClean="0"/>
                                <m:t>0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471B6C97-1DF8-0360-8095-B28A995055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96060" y="4165662"/>
                <a:ext cx="1159100" cy="85113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CDBB5D9B-7C66-5CE2-3C32-ABBF96373749}"/>
                  </a:ext>
                </a:extLst>
              </p:cNvPr>
              <p:cNvSpPr txBox="1"/>
              <p:nvPr/>
            </p:nvSpPr>
            <p:spPr>
              <a:xfrm>
                <a:off x="3016019" y="2345620"/>
                <a:ext cx="455958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CDBB5D9B-7C66-5CE2-3C32-ABBF963737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6019" y="2345620"/>
                <a:ext cx="455958" cy="369332"/>
              </a:xfrm>
              <a:prstGeom prst="rect">
                <a:avLst/>
              </a:prstGeom>
              <a:blipFill>
                <a:blip r:embed="rId9"/>
                <a:stretch>
                  <a:fillRect b="-3333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920D758E-8C39-152E-E4FB-9B61DCCA652C}"/>
                  </a:ext>
                </a:extLst>
              </p:cNvPr>
              <p:cNvSpPr txBox="1"/>
              <p:nvPr/>
            </p:nvSpPr>
            <p:spPr>
              <a:xfrm>
                <a:off x="6747631" y="2345620"/>
                <a:ext cx="418576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920D758E-8C39-152E-E4FB-9B61DCCA65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47631" y="2345620"/>
                <a:ext cx="418576" cy="369332"/>
              </a:xfrm>
              <a:prstGeom prst="rect">
                <a:avLst/>
              </a:prstGeom>
              <a:blipFill>
                <a:blip r:embed="rId10"/>
                <a:stretch>
                  <a:fillRect b="-3333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BD8A31E-8339-A2A6-E9D0-BF889373828A}"/>
              </a:ext>
            </a:extLst>
          </p:cNvPr>
          <p:cNvCxnSpPr>
            <a:cxnSpLocks/>
          </p:cNvCxnSpPr>
          <p:nvPr/>
        </p:nvCxnSpPr>
        <p:spPr>
          <a:xfrm>
            <a:off x="3817093" y="2523342"/>
            <a:ext cx="789062" cy="0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23214FF-4C45-B5FF-9B3E-7E3A785F67BA}"/>
              </a:ext>
            </a:extLst>
          </p:cNvPr>
          <p:cNvCxnSpPr>
            <a:cxnSpLocks/>
          </p:cNvCxnSpPr>
          <p:nvPr/>
        </p:nvCxnSpPr>
        <p:spPr>
          <a:xfrm>
            <a:off x="5834584" y="2530286"/>
            <a:ext cx="789062" cy="0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061E32C-703C-5664-F0D2-663BF161F6E7}"/>
                  </a:ext>
                </a:extLst>
              </p:cNvPr>
              <p:cNvSpPr txBox="1"/>
              <p:nvPr/>
            </p:nvSpPr>
            <p:spPr>
              <a:xfrm>
                <a:off x="2613803" y="3141322"/>
                <a:ext cx="397095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i="1" smtClean="0"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061E32C-703C-5664-F0D2-663BF161F6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13803" y="3141322"/>
                <a:ext cx="397095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33A493E0-D807-D489-6D94-7A5C3E8D0444}"/>
                  </a:ext>
                </a:extLst>
              </p:cNvPr>
              <p:cNvSpPr txBox="1"/>
              <p:nvPr/>
            </p:nvSpPr>
            <p:spPr>
              <a:xfrm>
                <a:off x="6096000" y="3133084"/>
                <a:ext cx="387477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33A493E0-D807-D489-6D94-7A5C3E8D04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3133084"/>
                <a:ext cx="387477" cy="369332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1ACFA15-5C6E-28B4-B7A1-A19EA1C3DC66}"/>
                  </a:ext>
                </a:extLst>
              </p:cNvPr>
              <p:cNvSpPr txBox="1"/>
              <p:nvPr/>
            </p:nvSpPr>
            <p:spPr>
              <a:xfrm>
                <a:off x="2363542" y="4406561"/>
                <a:ext cx="397095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i="1" smtClean="0"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1ACFA15-5C6E-28B4-B7A1-A19EA1C3DC6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3542" y="4406561"/>
                <a:ext cx="397095" cy="36933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9BA2ACC-D805-1A99-F638-ADC803D1ADBC}"/>
                  </a:ext>
                </a:extLst>
              </p:cNvPr>
              <p:cNvSpPr txBox="1"/>
              <p:nvPr/>
            </p:nvSpPr>
            <p:spPr>
              <a:xfrm>
                <a:off x="6095999" y="4406561"/>
                <a:ext cx="387477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9BA2ACC-D805-1A99-F638-ADC803D1AD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5999" y="4406561"/>
                <a:ext cx="387477" cy="369332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14">
            <a:extLst>
              <a:ext uri="{FF2B5EF4-FFF2-40B4-BE49-F238E27FC236}">
                <a16:creationId xmlns:a16="http://schemas.microsoft.com/office/drawing/2014/main" id="{6D0530C4-5075-EAC4-8BFB-30BB3D719518}"/>
              </a:ext>
            </a:extLst>
          </p:cNvPr>
          <p:cNvSpPr txBox="1"/>
          <p:nvPr/>
        </p:nvSpPr>
        <p:spPr>
          <a:xfrm>
            <a:off x="4699433" y="3365632"/>
            <a:ext cx="1084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/>
              <a:t>softmax</a:t>
            </a:r>
            <a:endParaRPr lang="en-US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3180E8A-84C1-3CE5-9AC2-B2B4F381ED9C}"/>
              </a:ext>
            </a:extLst>
          </p:cNvPr>
          <p:cNvSpPr txBox="1"/>
          <p:nvPr/>
        </p:nvSpPr>
        <p:spPr>
          <a:xfrm>
            <a:off x="4685558" y="4579745"/>
            <a:ext cx="1084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/>
              <a:t>softmax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26356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5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250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0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500"/>
                            </p:stCondLst>
                            <p:childTnLst>
                              <p:par>
                                <p:cTn id="7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200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9" grpId="0" animBg="1"/>
      <p:bldP spid="31" grpId="0"/>
      <p:bldP spid="32" grpId="0"/>
      <p:bldP spid="33" grpId="0"/>
      <p:bldP spid="34" grpId="0"/>
      <p:bldP spid="2" grpId="0"/>
      <p:bldP spid="3" grpId="0"/>
      <p:bldP spid="11" grpId="0"/>
      <p:bldP spid="12" grpId="0"/>
      <p:bldP spid="13" grpId="0"/>
      <p:bldP spid="14" grpId="0"/>
      <p:bldP spid="15" grpId="0"/>
      <p:bldP spid="16" grpId="0"/>
    </p:bld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B01A0B-40AC-1DA5-CCB3-C5894211A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D3BAE4E-E380-7EF9-B745-0A73D0730034}"/>
              </a:ext>
            </a:extLst>
          </p:cNvPr>
          <p:cNvSpPr/>
          <p:nvPr/>
        </p:nvSpPr>
        <p:spPr>
          <a:xfrm>
            <a:off x="230736" y="752024"/>
            <a:ext cx="11716285" cy="60117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D092D6-4025-AFAC-BE1E-CBBE576314EC}"/>
              </a:ext>
            </a:extLst>
          </p:cNvPr>
          <p:cNvSpPr/>
          <p:nvPr/>
        </p:nvSpPr>
        <p:spPr>
          <a:xfrm>
            <a:off x="223614" y="752024"/>
            <a:ext cx="11723407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3F3785F-84A1-9DB9-1BC4-CCD9A3AE695D}"/>
              </a:ext>
            </a:extLst>
          </p:cNvPr>
          <p:cNvGrpSpPr/>
          <p:nvPr/>
        </p:nvGrpSpPr>
        <p:grpSpPr>
          <a:xfrm>
            <a:off x="455082" y="905852"/>
            <a:ext cx="653739" cy="170917"/>
            <a:chOff x="779821" y="1187864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E1633E9-66A4-BA61-B374-E521ADA4E92F}"/>
                </a:ext>
              </a:extLst>
            </p:cNvPr>
            <p:cNvSpPr/>
            <p:nvPr/>
          </p:nvSpPr>
          <p:spPr>
            <a:xfrm>
              <a:off x="779821" y="1196411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2E278A4-0457-F59E-DBE1-6DD86293D8F6}"/>
                </a:ext>
              </a:extLst>
            </p:cNvPr>
            <p:cNvSpPr/>
            <p:nvPr/>
          </p:nvSpPr>
          <p:spPr>
            <a:xfrm>
              <a:off x="1044736" y="1187864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C6B6712-300F-EAF3-B533-FACA2B60C4BA}"/>
                </a:ext>
              </a:extLst>
            </p:cNvPr>
            <p:cNvSpPr/>
            <p:nvPr/>
          </p:nvSpPr>
          <p:spPr>
            <a:xfrm>
              <a:off x="1271190" y="1187864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BB820652-D836-12C6-9A5B-1BEC3C804303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1039384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 err="1"/>
              <a:t>Softmax</a:t>
            </a:r>
            <a:r>
              <a:rPr lang="en-US" dirty="0"/>
              <a:t>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F561C8-A691-C845-026B-5A209E3C31E8}"/>
              </a:ext>
            </a:extLst>
          </p:cNvPr>
          <p:cNvSpPr txBox="1"/>
          <p:nvPr/>
        </p:nvSpPr>
        <p:spPr>
          <a:xfrm>
            <a:off x="291979" y="1306708"/>
            <a:ext cx="10373171" cy="31393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numpy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p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put tenso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23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26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p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pply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oftmax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to the input tensor to obtain the output tenso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_tens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oftma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output_tensor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utput_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58C4CB2-E8D7-DC06-FB25-FC474735F6AC}"/>
              </a:ext>
            </a:extLst>
          </p:cNvPr>
          <p:cNvSpPr/>
          <p:nvPr/>
        </p:nvSpPr>
        <p:spPr>
          <a:xfrm>
            <a:off x="1371628" y="752023"/>
            <a:ext cx="350802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softmax_fn.ipynb</a:t>
            </a:r>
            <a:endParaRPr lang="en-US" dirty="0"/>
          </a:p>
        </p:txBody>
      </p:sp>
      <p:pic>
        <p:nvPicPr>
          <p:cNvPr id="18" name="Picture 17" descr="Project Jupyter - Wikipedia">
            <a:extLst>
              <a:ext uri="{FF2B5EF4-FFF2-40B4-BE49-F238E27FC236}">
                <a16:creationId xmlns:a16="http://schemas.microsoft.com/office/drawing/2014/main" id="{4AF69A1E-1B2F-6196-65C4-DA744A3FA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541" y="7777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A95A1B6-F761-979F-F691-0DE024F37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162" y="4732100"/>
            <a:ext cx="3038475" cy="1000125"/>
          </a:xfrm>
          <a:prstGeom prst="rect">
            <a:avLst/>
          </a:prstGeom>
          <a:ln>
            <a:solidFill>
              <a:srgbClr val="00994D"/>
            </a:solidFill>
          </a:ln>
        </p:spPr>
      </p:pic>
    </p:spTree>
    <p:extLst>
      <p:ext uri="{BB962C8B-B14F-4D97-AF65-F5344CB8AC3E}">
        <p14:creationId xmlns:p14="http://schemas.microsoft.com/office/powerpoint/2010/main" val="1217932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8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6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488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A876CA-BB80-83DC-5EA2-DAE02D4532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9920157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3E050D-DEA9-B921-BE60-5B8F2FD37A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982F92F-2CAF-513B-0A36-020D9D6E14C1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1039384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oss Entropy Los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69F6317-58E0-A033-13BB-117AC4B955A4}"/>
              </a:ext>
            </a:extLst>
          </p:cNvPr>
          <p:cNvSpPr/>
          <p:nvPr/>
        </p:nvSpPr>
        <p:spPr>
          <a:xfrm>
            <a:off x="4333704" y="2471790"/>
            <a:ext cx="1598063" cy="573088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nsformer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6A1C57A-5804-BC22-FC50-23B2E5A4DDD3}"/>
              </a:ext>
            </a:extLst>
          </p:cNvPr>
          <p:cNvCxnSpPr/>
          <p:nvPr/>
        </p:nvCxnSpPr>
        <p:spPr>
          <a:xfrm>
            <a:off x="5931767" y="2762348"/>
            <a:ext cx="78906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B0FEE36-FBFF-FB25-5A3E-661E6841A428}"/>
              </a:ext>
            </a:extLst>
          </p:cNvPr>
          <p:cNvCxnSpPr/>
          <p:nvPr/>
        </p:nvCxnSpPr>
        <p:spPr>
          <a:xfrm>
            <a:off x="3544642" y="2762348"/>
            <a:ext cx="78906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ED0D65A-A49A-A144-FB97-397A98AF6E79}"/>
              </a:ext>
            </a:extLst>
          </p:cNvPr>
          <p:cNvSpPr txBox="1"/>
          <p:nvPr/>
        </p:nvSpPr>
        <p:spPr>
          <a:xfrm>
            <a:off x="6790204" y="2170301"/>
            <a:ext cx="2095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[0.3, 0.2, 0.4, 0.1],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59F250-3959-4EB2-C278-CD7099FEB286}"/>
              </a:ext>
            </a:extLst>
          </p:cNvPr>
          <p:cNvSpPr txBox="1"/>
          <p:nvPr/>
        </p:nvSpPr>
        <p:spPr>
          <a:xfrm>
            <a:off x="6790204" y="2565790"/>
            <a:ext cx="20267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0.4, 0.1, 0.3, 0.2],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8729B4-2823-C94C-3381-B08C2B0A6DEF}"/>
              </a:ext>
            </a:extLst>
          </p:cNvPr>
          <p:cNvSpPr txBox="1"/>
          <p:nvPr/>
        </p:nvSpPr>
        <p:spPr>
          <a:xfrm>
            <a:off x="9257124" y="1863078"/>
            <a:ext cx="23866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0" dirty="0">
                <a:effectLst/>
                <a:latin typeface="Segoe WPC"/>
              </a:rPr>
              <a:t>Target sentence (En)</a:t>
            </a:r>
            <a:endParaRPr lang="en-US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B8A393-DF02-B5D1-4DAB-80EDA56F6F3A}"/>
              </a:ext>
            </a:extLst>
          </p:cNvPr>
          <p:cNvSpPr txBox="1"/>
          <p:nvPr/>
        </p:nvSpPr>
        <p:spPr>
          <a:xfrm>
            <a:off x="10665846" y="2296669"/>
            <a:ext cx="51283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</a:t>
            </a:r>
            <a:r>
              <a:rPr lang="en-US" b="1" dirty="0"/>
              <a:t>2</a:t>
            </a:r>
            <a:r>
              <a:rPr lang="en-US" dirty="0"/>
              <a:t>, </a:t>
            </a:r>
          </a:p>
          <a:p>
            <a:r>
              <a:rPr lang="en-US" dirty="0"/>
              <a:t> </a:t>
            </a:r>
            <a:r>
              <a:rPr lang="en-US" b="1" dirty="0"/>
              <a:t>0</a:t>
            </a:r>
            <a:r>
              <a:rPr lang="en-US" dirty="0"/>
              <a:t>, </a:t>
            </a:r>
          </a:p>
          <a:p>
            <a:r>
              <a:rPr lang="en-US" dirty="0"/>
              <a:t> </a:t>
            </a:r>
            <a:r>
              <a:rPr lang="en-US" b="1" dirty="0"/>
              <a:t>1</a:t>
            </a:r>
            <a:r>
              <a:rPr lang="en-US" dirty="0"/>
              <a:t>]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5E01E60-047D-6D8D-9DE3-739CE685644E}"/>
              </a:ext>
            </a:extLst>
          </p:cNvPr>
          <p:cNvSpPr txBox="1"/>
          <p:nvPr/>
        </p:nvSpPr>
        <p:spPr>
          <a:xfrm>
            <a:off x="6790204" y="1863078"/>
            <a:ext cx="1397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0" dirty="0">
                <a:effectLst/>
                <a:latin typeface="Segoe WPC"/>
              </a:rPr>
              <a:t>Predictions</a:t>
            </a:r>
            <a:endParaRPr lang="en-US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2330D9-E799-50F8-EC3A-E9F68CF7F26C}"/>
              </a:ext>
            </a:extLst>
          </p:cNvPr>
          <p:cNvSpPr txBox="1"/>
          <p:nvPr/>
        </p:nvSpPr>
        <p:spPr>
          <a:xfrm>
            <a:off x="2735836" y="2296669"/>
            <a:ext cx="7019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WPC"/>
              </a:rPr>
              <a:t>"Je</a:t>
            </a:r>
          </a:p>
          <a:p>
            <a:r>
              <a:rPr lang="en-US" dirty="0" err="1">
                <a:latin typeface="Segoe WPC"/>
              </a:rPr>
              <a:t>Vais</a:t>
            </a:r>
            <a:endParaRPr lang="en-US" dirty="0">
              <a:latin typeface="Segoe WPC"/>
            </a:endParaRPr>
          </a:p>
          <a:p>
            <a:r>
              <a:rPr lang="en-US" dirty="0">
                <a:latin typeface="Segoe WPC"/>
              </a:rPr>
              <a:t>Bien"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F13EA1D-FC3D-736F-D24C-DBF720C65899}"/>
              </a:ext>
            </a:extLst>
          </p:cNvPr>
          <p:cNvSpPr txBox="1"/>
          <p:nvPr/>
        </p:nvSpPr>
        <p:spPr>
          <a:xfrm>
            <a:off x="6790204" y="2944320"/>
            <a:ext cx="20267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0.3, 0.5, 0.1, 0.2]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2AD5C5-598B-599B-2AC8-429D3D748E5A}"/>
              </a:ext>
            </a:extLst>
          </p:cNvPr>
          <p:cNvSpPr txBox="1"/>
          <p:nvPr/>
        </p:nvSpPr>
        <p:spPr>
          <a:xfrm>
            <a:off x="6466836" y="771897"/>
            <a:ext cx="29193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Segoe WPC"/>
              </a:rPr>
              <a:t>Configu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latin typeface="Segoe WPC"/>
              </a:rPr>
              <a:t>seq_len</a:t>
            </a:r>
            <a:r>
              <a:rPr lang="en-US" dirty="0">
                <a:latin typeface="Segoe WPC"/>
              </a:rPr>
              <a:t> =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en_vocabulary_size</a:t>
            </a:r>
            <a:r>
              <a:rPr lang="en-US" dirty="0"/>
              <a:t> = 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999AA87-1A3B-CC54-6AE2-92C812CA08D8}"/>
              </a:ext>
            </a:extLst>
          </p:cNvPr>
          <p:cNvSpPr txBox="1"/>
          <p:nvPr/>
        </p:nvSpPr>
        <p:spPr>
          <a:xfrm>
            <a:off x="9811570" y="2296669"/>
            <a:ext cx="68108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WPC"/>
              </a:rPr>
              <a:t>"I</a:t>
            </a:r>
          </a:p>
          <a:p>
            <a:r>
              <a:rPr lang="en-US" dirty="0">
                <a:latin typeface="Segoe WPC"/>
              </a:rPr>
              <a:t>Am</a:t>
            </a:r>
          </a:p>
          <a:p>
            <a:r>
              <a:rPr lang="en-US" dirty="0">
                <a:latin typeface="Segoe WPC"/>
              </a:rPr>
              <a:t>Fine"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809ABA-768D-6471-8D62-0A39DA751971}"/>
              </a:ext>
            </a:extLst>
          </p:cNvPr>
          <p:cNvSpPr txBox="1"/>
          <p:nvPr/>
        </p:nvSpPr>
        <p:spPr>
          <a:xfrm>
            <a:off x="2311884" y="1863078"/>
            <a:ext cx="23853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0" dirty="0">
                <a:effectLst/>
                <a:latin typeface="Segoe WPC"/>
              </a:rPr>
              <a:t>Source sentence (Fr)</a:t>
            </a:r>
            <a:endParaRPr lang="en-US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80BBC6-D8D1-548F-152F-F1ECFF58F4AA}"/>
              </a:ext>
            </a:extLst>
          </p:cNvPr>
          <p:cNvSpPr txBox="1"/>
          <p:nvPr/>
        </p:nvSpPr>
        <p:spPr>
          <a:xfrm>
            <a:off x="9454593" y="771897"/>
            <a:ext cx="27052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/>
              <a:t>english_tokenizer</a:t>
            </a:r>
            <a:r>
              <a:rPr lang="en-US" dirty="0"/>
              <a:t>: </a:t>
            </a:r>
          </a:p>
          <a:p>
            <a:r>
              <a:rPr lang="en-US" dirty="0"/>
              <a:t>{"Am" : 0,"Fine": 1,"I": 2,</a:t>
            </a:r>
          </a:p>
          <a:p>
            <a:r>
              <a:rPr lang="en-US" dirty="0"/>
              <a:t>"Hi": 3}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3E62085-B97A-FE4C-B039-5856325747F5}"/>
              </a:ext>
            </a:extLst>
          </p:cNvPr>
          <p:cNvSpPr txBox="1"/>
          <p:nvPr/>
        </p:nvSpPr>
        <p:spPr>
          <a:xfrm>
            <a:off x="3291" y="1756205"/>
            <a:ext cx="966034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b="1" i="0" dirty="0">
                <a:effectLst/>
                <a:latin typeface="Segoe WPC"/>
              </a:rPr>
              <a:t>1</a:t>
            </a:r>
            <a:r>
              <a:rPr lang="en-US" b="1" i="0" baseline="30000" dirty="0">
                <a:effectLst/>
                <a:latin typeface="Segoe WPC"/>
              </a:rPr>
              <a:t>st</a:t>
            </a:r>
            <a:r>
              <a:rPr lang="en-US" b="1" i="0" dirty="0">
                <a:effectLst/>
                <a:latin typeface="Segoe WPC"/>
              </a:rPr>
              <a:t> step</a:t>
            </a:r>
            <a:endParaRPr lang="en-US" b="1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93280D0-F00E-1C42-D209-58869568AE23}"/>
              </a:ext>
            </a:extLst>
          </p:cNvPr>
          <p:cNvCxnSpPr/>
          <p:nvPr/>
        </p:nvCxnSpPr>
        <p:spPr>
          <a:xfrm>
            <a:off x="0" y="1747992"/>
            <a:ext cx="12192000" cy="0"/>
          </a:xfrm>
          <a:prstGeom prst="line">
            <a:avLst/>
          </a:prstGeom>
          <a:ln w="9525"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9BCAE99-1E84-0578-D3E4-F46AE9D63665}"/>
              </a:ext>
            </a:extLst>
          </p:cNvPr>
          <p:cNvCxnSpPr/>
          <p:nvPr/>
        </p:nvCxnSpPr>
        <p:spPr>
          <a:xfrm>
            <a:off x="0" y="3429000"/>
            <a:ext cx="12192000" cy="0"/>
          </a:xfrm>
          <a:prstGeom prst="line">
            <a:avLst/>
          </a:prstGeom>
          <a:ln w="9525"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7DB9D9AC-13E3-825F-44D6-3348D03CF06F}"/>
              </a:ext>
            </a:extLst>
          </p:cNvPr>
          <p:cNvSpPr txBox="1"/>
          <p:nvPr/>
        </p:nvSpPr>
        <p:spPr>
          <a:xfrm>
            <a:off x="3291" y="3429000"/>
            <a:ext cx="1026948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b="1" i="0" dirty="0">
                <a:effectLst/>
                <a:latin typeface="Segoe WPC"/>
              </a:rPr>
              <a:t>2</a:t>
            </a:r>
            <a:r>
              <a:rPr lang="en-US" b="1" i="0" baseline="30000" dirty="0">
                <a:effectLst/>
                <a:latin typeface="Segoe WPC"/>
              </a:rPr>
              <a:t>nd</a:t>
            </a:r>
            <a:r>
              <a:rPr lang="en-US" b="1" i="0" dirty="0">
                <a:effectLst/>
                <a:latin typeface="Segoe WPC"/>
              </a:rPr>
              <a:t> step</a:t>
            </a:r>
            <a:endParaRPr lang="en-US" b="1" dirty="0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33E3C3B-565A-EA5A-86C8-5C3F9769C1FB}"/>
              </a:ext>
            </a:extLst>
          </p:cNvPr>
          <p:cNvCxnSpPr>
            <a:cxnSpLocks/>
          </p:cNvCxnSpPr>
          <p:nvPr/>
        </p:nvCxnSpPr>
        <p:spPr>
          <a:xfrm>
            <a:off x="7803590" y="3315083"/>
            <a:ext cx="0" cy="48324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3F52A53-87EB-9BAE-90CA-745FC912AC1D}"/>
              </a:ext>
            </a:extLst>
          </p:cNvPr>
          <p:cNvSpPr txBox="1"/>
          <p:nvPr/>
        </p:nvSpPr>
        <p:spPr>
          <a:xfrm>
            <a:off x="6648681" y="3378251"/>
            <a:ext cx="1084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/>
              <a:t>softmax</a:t>
            </a:r>
            <a:endParaRPr lang="en-US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AB2F9E-7629-8B86-713F-370152F6556C}"/>
              </a:ext>
            </a:extLst>
          </p:cNvPr>
          <p:cNvSpPr txBox="1"/>
          <p:nvPr/>
        </p:nvSpPr>
        <p:spPr>
          <a:xfrm>
            <a:off x="6828569" y="3862931"/>
            <a:ext cx="3793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[0.2612, 0.2363, </a:t>
            </a:r>
            <a:r>
              <a:rPr lang="en-US" b="1" dirty="0"/>
              <a:t>0.2887</a:t>
            </a:r>
            <a:r>
              <a:rPr lang="en-US" dirty="0"/>
              <a:t>, 0.2138],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C7CDDB5-A346-3549-4A63-1E2ABFFBA6BA}"/>
              </a:ext>
            </a:extLst>
          </p:cNvPr>
          <p:cNvSpPr txBox="1"/>
          <p:nvPr/>
        </p:nvSpPr>
        <p:spPr>
          <a:xfrm>
            <a:off x="6828569" y="4258420"/>
            <a:ext cx="37243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</a:t>
            </a:r>
            <a:r>
              <a:rPr lang="en-US" b="1" dirty="0"/>
              <a:t>0.2887</a:t>
            </a:r>
            <a:r>
              <a:rPr lang="en-US" dirty="0"/>
              <a:t>, 0.2138, 0.2612, 0.2363],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2342DB9-D3EE-6B2D-B70C-5990BC32F8D2}"/>
              </a:ext>
            </a:extLst>
          </p:cNvPr>
          <p:cNvSpPr txBox="1"/>
          <p:nvPr/>
        </p:nvSpPr>
        <p:spPr>
          <a:xfrm>
            <a:off x="6828569" y="4636950"/>
            <a:ext cx="3733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0.2535, </a:t>
            </a:r>
            <a:r>
              <a:rPr lang="en-US" b="1" dirty="0"/>
              <a:t>0.3096</a:t>
            </a:r>
            <a:r>
              <a:rPr lang="en-US" dirty="0"/>
              <a:t>, 0.2075, 0.2294]]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5FBA983-E25E-BA43-5F6E-5B5CEE64A013}"/>
              </a:ext>
            </a:extLst>
          </p:cNvPr>
          <p:cNvCxnSpPr/>
          <p:nvPr/>
        </p:nvCxnSpPr>
        <p:spPr>
          <a:xfrm>
            <a:off x="0" y="5110008"/>
            <a:ext cx="12192000" cy="0"/>
          </a:xfrm>
          <a:prstGeom prst="line">
            <a:avLst/>
          </a:prstGeom>
          <a:ln w="9525"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AB9B0B90-1399-B92A-01C9-0CD0622775A4}"/>
              </a:ext>
            </a:extLst>
          </p:cNvPr>
          <p:cNvSpPr txBox="1"/>
          <p:nvPr/>
        </p:nvSpPr>
        <p:spPr>
          <a:xfrm>
            <a:off x="3291" y="5110008"/>
            <a:ext cx="994311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latin typeface="Segoe WPC"/>
              </a:rPr>
              <a:t>3</a:t>
            </a:r>
            <a:r>
              <a:rPr lang="en-US" b="1" baseline="30000" dirty="0">
                <a:latin typeface="Segoe WPC"/>
              </a:rPr>
              <a:t>rd</a:t>
            </a:r>
            <a:r>
              <a:rPr lang="en-US" b="1" dirty="0">
                <a:latin typeface="Segoe WPC"/>
              </a:rPr>
              <a:t> </a:t>
            </a:r>
            <a:r>
              <a:rPr lang="en-US" b="1" i="0" dirty="0">
                <a:effectLst/>
                <a:latin typeface="Segoe WPC"/>
              </a:rPr>
              <a:t>step</a:t>
            </a:r>
            <a:endParaRPr lang="en-US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0F4871AD-4AE8-5E8E-B4CC-BE8F63CAB659}"/>
                  </a:ext>
                </a:extLst>
              </p:cNvPr>
              <p:cNvSpPr txBox="1"/>
              <p:nvPr/>
            </p:nvSpPr>
            <p:spPr>
              <a:xfrm>
                <a:off x="6648682" y="5399991"/>
                <a:ext cx="402514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1" smtClean="0">
                          <a:latin typeface="Cambria Math" panose="02040503050406030204" pitchFamily="18" charset="0"/>
                        </a:rPr>
                        <m:t>𝑚𝑒𝑎𝑛</m:t>
                      </m:r>
                      <m:r>
                        <a:rPr lang="fr-FR" b="1" smtClean="0">
                          <a:latin typeface="Cambria Math" panose="02040503050406030204" pitchFamily="18" charset="0"/>
                        </a:rPr>
                        <m:t>(−</m:t>
                      </m:r>
                      <m:func>
                        <m:funcPr>
                          <m:ctrlPr>
                            <a:rPr lang="fr-FR" b="1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r-FR" b="1">
                              <a:latin typeface="Cambria Math" panose="02040503050406030204" pitchFamily="18" charset="0"/>
                            </a:rPr>
                            <m:t>log</m:t>
                          </m:r>
                        </m:fName>
                        <m:e>
                          <m:d>
                            <m:dPr>
                              <m:ctrlPr>
                                <a:rPr lang="fr-FR" b="1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b="1" i="0" dirty="0" smtClean="0"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  <m:r>
                                <a:rPr lang="fr-FR" b="1" i="0" dirty="0" smtClean="0">
                                  <a:latin typeface="Cambria Math" panose="02040503050406030204" pitchFamily="18" charset="0"/>
                                </a:rPr>
                                <m:t>.</m:t>
                              </m:r>
                              <m:r>
                                <a:rPr lang="fr-FR" b="1" i="0" dirty="0" smtClean="0">
                                  <a:latin typeface="Cambria Math" panose="02040503050406030204" pitchFamily="18" charset="0"/>
                                </a:rPr>
                                <m:t>𝟐𝟖𝟖𝟕</m:t>
                              </m:r>
                              <m:r>
                                <a:rPr lang="fr-FR" b="1" i="0" dirty="0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fr-FR" b="1" i="0" dirty="0" smtClean="0"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  <m:r>
                                <a:rPr lang="fr-FR" b="1" i="0" dirty="0" smtClean="0">
                                  <a:latin typeface="Cambria Math" panose="02040503050406030204" pitchFamily="18" charset="0"/>
                                </a:rPr>
                                <m:t>.</m:t>
                              </m:r>
                              <m:r>
                                <a:rPr lang="fr-FR" b="1" i="0" dirty="0" smtClean="0">
                                  <a:latin typeface="Cambria Math" panose="02040503050406030204" pitchFamily="18" charset="0"/>
                                </a:rPr>
                                <m:t>𝟐𝟖𝟖𝟕</m:t>
                              </m:r>
                              <m:r>
                                <a:rPr lang="fr-FR" b="1" i="0" dirty="0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fr-FR" b="1" dirty="0"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  <m:r>
                                <a:rPr lang="fr-FR" b="1" dirty="0">
                                  <a:latin typeface="Cambria Math" panose="02040503050406030204" pitchFamily="18" charset="0"/>
                                </a:rPr>
                                <m:t>.</m:t>
                              </m:r>
                              <m:r>
                                <a:rPr lang="fr-FR" b="1" dirty="0">
                                  <a:latin typeface="Cambria Math" panose="02040503050406030204" pitchFamily="18" charset="0"/>
                                </a:rPr>
                                <m:t>𝟑𝟎𝟗𝟔</m:t>
                              </m:r>
                            </m:e>
                          </m:d>
                        </m:e>
                      </m:func>
                      <m:r>
                        <a:rPr lang="fr-FR" b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0F4871AD-4AE8-5E8E-B4CC-BE8F63CAB6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8682" y="5399991"/>
                <a:ext cx="4025141" cy="276999"/>
              </a:xfrm>
              <a:prstGeom prst="rect">
                <a:avLst/>
              </a:prstGeom>
              <a:blipFill>
                <a:blip r:embed="rId2"/>
                <a:stretch>
                  <a:fillRect l="-303" r="-1667" b="-377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C48B84C3-1691-DFCD-8726-FA93B6D19925}"/>
                  </a:ext>
                </a:extLst>
              </p:cNvPr>
              <p:cNvSpPr txBox="1"/>
              <p:nvPr/>
            </p:nvSpPr>
            <p:spPr>
              <a:xfrm>
                <a:off x="6648681" y="5908121"/>
                <a:ext cx="5475089" cy="5375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unc>
                            <m:func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r-FR" b="0" i="0" smtClean="0"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r-FR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nor/>
                                    </m:rPr>
                                    <a:rPr lang="fr-FR" b="1" i="0" smtClean="0">
                                      <a:latin typeface="Cambria Math" panose="02040503050406030204" pitchFamily="18" charset="0"/>
                                    </a:rPr>
                                    <m:t>0.2887</m:t>
                                  </m:r>
                                </m:e>
                              </m:d>
                            </m:e>
                          </m:func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fr-FR" b="0" i="0" smtClean="0">
                              <a:latin typeface="Cambria Math" panose="02040503050406030204" pitchFamily="18" charset="0"/>
                            </a:rPr>
                            <m:t>log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⁡(</m:t>
                          </m:r>
                          <m:r>
                            <m:rPr>
                              <m:nor/>
                            </m:rPr>
                            <a:rPr lang="fr-FR" b="1" i="0" smtClean="0">
                              <a:latin typeface="Cambria Math" panose="02040503050406030204" pitchFamily="18" charset="0"/>
                            </a:rPr>
                            <m:t>0.2887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fr-FR">
                              <a:latin typeface="Cambria Math" panose="02040503050406030204" pitchFamily="18" charset="0"/>
                            </a:rPr>
                            <m:t>log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⁡(</m:t>
                          </m:r>
                          <m:r>
                            <m:rPr>
                              <m:nor/>
                            </m:rPr>
                            <a:rPr lang="fr-FR" b="1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fr-FR" b="1" i="1" smtClean="0">
                              <a:latin typeface="Cambria Math" panose="02040503050406030204" pitchFamily="18" charset="0"/>
                            </a:rPr>
                            <m:t>𝟑𝟎𝟗𝟔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den>
                      </m:f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r-FR" b="1" i="1" smtClean="0"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fr-FR" b="1" i="1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fr-FR" b="1" i="1" smtClean="0">
                          <a:latin typeface="Cambria Math" panose="02040503050406030204" pitchFamily="18" charset="0"/>
                        </a:rPr>
                        <m:t>𝟐𝟏𝟗𝟐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C48B84C3-1691-DFCD-8726-FA93B6D199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8681" y="5908121"/>
                <a:ext cx="5475089" cy="53751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560B8A8-63D8-2D35-D757-7D4F5882904A}"/>
                  </a:ext>
                </a:extLst>
              </p:cNvPr>
              <p:cNvSpPr txBox="1"/>
              <p:nvPr/>
            </p:nvSpPr>
            <p:spPr>
              <a:xfrm>
                <a:off x="4151253" y="5398942"/>
                <a:ext cx="218970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1" i="1" smtClean="0">
                          <a:latin typeface="Cambria Math" panose="02040503050406030204" pitchFamily="18" charset="0"/>
                        </a:rPr>
                        <m:t>𝒄𝒓𝒐𝒔𝒔</m:t>
                      </m:r>
                      <m:r>
                        <a:rPr lang="fr-FR" b="1" i="1" smtClean="0"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fr-FR" b="1" i="1" smtClean="0">
                          <a:latin typeface="Cambria Math" panose="02040503050406030204" pitchFamily="18" charset="0"/>
                        </a:rPr>
                        <m:t>𝒆𝒏𝒕𝒓𝒐𝒑𝒚</m:t>
                      </m:r>
                      <m:r>
                        <a:rPr lang="fr-FR" b="1" i="1" smtClean="0"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fr-FR" b="1" i="1" smtClean="0">
                          <a:latin typeface="Cambria Math" panose="02040503050406030204" pitchFamily="18" charset="0"/>
                        </a:rPr>
                        <m:t>𝒍𝒐𝒔𝒔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560B8A8-63D8-2D35-D757-7D4F588290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1253" y="5398942"/>
                <a:ext cx="2189702" cy="276999"/>
              </a:xfrm>
              <a:prstGeom prst="rect">
                <a:avLst/>
              </a:prstGeom>
              <a:blipFill>
                <a:blip r:embed="rId4"/>
                <a:stretch>
                  <a:fillRect l="-1114" r="-2507" b="-3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80D17856-5460-C4E3-B4CA-97DD85964A4C}"/>
                  </a:ext>
                </a:extLst>
              </p:cNvPr>
              <p:cNvSpPr txBox="1"/>
              <p:nvPr/>
            </p:nvSpPr>
            <p:spPr>
              <a:xfrm>
                <a:off x="6370856" y="5398942"/>
                <a:ext cx="23083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1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80D17856-5460-C4E3-B4CA-97DD85964A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70856" y="5398942"/>
                <a:ext cx="230832" cy="276999"/>
              </a:xfrm>
              <a:prstGeom prst="rect">
                <a:avLst/>
              </a:prstGeom>
              <a:blipFill>
                <a:blip r:embed="rId5"/>
                <a:stretch>
                  <a:fillRect l="-7895" r="-105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92EB8B94-C141-88F1-ED9D-1072FA83A99D}"/>
                  </a:ext>
                </a:extLst>
              </p:cNvPr>
              <p:cNvSpPr txBox="1"/>
              <p:nvPr/>
            </p:nvSpPr>
            <p:spPr>
              <a:xfrm>
                <a:off x="6370856" y="6067379"/>
                <a:ext cx="23083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1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92EB8B94-C141-88F1-ED9D-1072FA83A9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70856" y="6067379"/>
                <a:ext cx="230832" cy="276999"/>
              </a:xfrm>
              <a:prstGeom prst="rect">
                <a:avLst/>
              </a:prstGeom>
              <a:blipFill>
                <a:blip r:embed="rId6"/>
                <a:stretch>
                  <a:fillRect l="-7895" r="-105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3" name="TextBox 42">
            <a:extLst>
              <a:ext uri="{FF2B5EF4-FFF2-40B4-BE49-F238E27FC236}">
                <a16:creationId xmlns:a16="http://schemas.microsoft.com/office/drawing/2014/main" id="{A6671F0D-34B7-A9CE-1D90-C707396B7000}"/>
              </a:ext>
            </a:extLst>
          </p:cNvPr>
          <p:cNvSpPr txBox="1"/>
          <p:nvPr/>
        </p:nvSpPr>
        <p:spPr>
          <a:xfrm>
            <a:off x="0" y="2174009"/>
            <a:ext cx="14993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egoe WPC"/>
              </a:rPr>
              <a:t>Mod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egoe WPC"/>
              </a:rPr>
              <a:t>Prediction</a:t>
            </a:r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3762B47-FD66-6C89-FE8B-4B83CBA52A4E}"/>
              </a:ext>
            </a:extLst>
          </p:cNvPr>
          <p:cNvSpPr txBox="1"/>
          <p:nvPr/>
        </p:nvSpPr>
        <p:spPr>
          <a:xfrm>
            <a:off x="0" y="3899353"/>
            <a:ext cx="45145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latin typeface="Segoe WPC"/>
              </a:rPr>
              <a:t>Softmax</a:t>
            </a:r>
            <a:endParaRPr lang="en-US" dirty="0">
              <a:latin typeface="Segoe WPC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egoe WPC"/>
              </a:rPr>
              <a:t>Select prob corresponding to true label</a:t>
            </a:r>
            <a:endParaRPr lang="en-US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2C38026-CA4D-D953-BCA0-3A8032746DDA}"/>
              </a:ext>
            </a:extLst>
          </p:cNvPr>
          <p:cNvSpPr txBox="1"/>
          <p:nvPr/>
        </p:nvSpPr>
        <p:spPr>
          <a:xfrm>
            <a:off x="0" y="5566296"/>
            <a:ext cx="312303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egoe WPC"/>
              </a:rPr>
              <a:t>Compute the negative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egoe WPC"/>
              </a:rPr>
              <a:t>Take average on the result</a:t>
            </a:r>
            <a:endParaRPr lang="en-US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D5773A2-6AFC-8C20-67AA-81A0EBD96817}"/>
              </a:ext>
            </a:extLst>
          </p:cNvPr>
          <p:cNvSpPr txBox="1"/>
          <p:nvPr/>
        </p:nvSpPr>
        <p:spPr>
          <a:xfrm>
            <a:off x="-1" y="771897"/>
            <a:ext cx="53083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Segoe WPC"/>
              </a:rPr>
              <a:t>Contex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egoe WPC"/>
              </a:rPr>
              <a:t>Given a machine translation task of transfor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nslate French sentence to English sentence</a:t>
            </a:r>
          </a:p>
        </p:txBody>
      </p:sp>
    </p:spTree>
    <p:extLst>
      <p:ext uri="{BB962C8B-B14F-4D97-AF65-F5344CB8AC3E}">
        <p14:creationId xmlns:p14="http://schemas.microsoft.com/office/powerpoint/2010/main" val="780826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0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5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5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60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65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00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00"/>
                            </p:stCondLst>
                            <p:childTnLst>
                              <p:par>
                                <p:cTn id="8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000"/>
                            </p:stCondLst>
                            <p:childTnLst>
                              <p:par>
                                <p:cTn id="8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500"/>
                            </p:stCondLst>
                            <p:childTnLst>
                              <p:par>
                                <p:cTn id="9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2000"/>
                            </p:stCondLst>
                            <p:childTnLst>
                              <p:par>
                                <p:cTn id="9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2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3000"/>
                            </p:stCondLst>
                            <p:childTnLst>
                              <p:par>
                                <p:cTn id="10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3500"/>
                            </p:stCondLst>
                            <p:childTnLst>
                              <p:par>
                                <p:cTn id="10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500"/>
                            </p:stCondLst>
                            <p:childTnLst>
                              <p:par>
                                <p:cTn id="1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000"/>
                            </p:stCondLst>
                            <p:childTnLst>
                              <p:par>
                                <p:cTn id="1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1500"/>
                            </p:stCondLst>
                            <p:childTnLst>
                              <p:par>
                                <p:cTn id="1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>
                            <p:stCondLst>
                              <p:cond delay="2000"/>
                            </p:stCondLst>
                            <p:childTnLst>
                              <p:par>
                                <p:cTn id="1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2500"/>
                            </p:stCondLst>
                            <p:childTnLst>
                              <p:par>
                                <p:cTn id="1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3000"/>
                            </p:stCondLst>
                            <p:childTnLst>
                              <p:par>
                                <p:cTn id="1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3500"/>
                            </p:stCondLst>
                            <p:childTnLst>
                              <p:par>
                                <p:cTn id="1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2" grpId="0"/>
      <p:bldP spid="13" grpId="0"/>
      <p:bldP spid="15" grpId="0"/>
      <p:bldP spid="16" grpId="0"/>
      <p:bldP spid="21" grpId="0"/>
      <p:bldP spid="22" grpId="0"/>
      <p:bldP spid="3" grpId="0"/>
      <p:bldP spid="5" grpId="0"/>
      <p:bldP spid="6" grpId="0"/>
      <p:bldP spid="7" grpId="0"/>
      <p:bldP spid="8" grpId="0"/>
      <p:bldP spid="17" grpId="0" animBg="1"/>
      <p:bldP spid="26" grpId="0" animBg="1"/>
      <p:bldP spid="29" grpId="0"/>
      <p:bldP spid="30" grpId="0"/>
      <p:bldP spid="31" grpId="0"/>
      <p:bldP spid="32" grpId="0"/>
      <p:bldP spid="37" grpId="0" animBg="1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enviro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r>
              <a:rPr lang="en-US" dirty="0"/>
              <a:t> Using `</a:t>
            </a:r>
            <a:r>
              <a:rPr lang="en-US" dirty="0" err="1"/>
              <a:t>conda</a:t>
            </a:r>
            <a:r>
              <a:rPr lang="en-US" dirty="0"/>
              <a:t>`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FDAF2E-0707-DAEC-A8C1-5FAEBB2FCC5B}"/>
              </a:ext>
            </a:extLst>
          </p:cNvPr>
          <p:cNvSpPr txBox="1"/>
          <p:nvPr/>
        </p:nvSpPr>
        <p:spPr>
          <a:xfrm>
            <a:off x="1504060" y="2606719"/>
            <a:ext cx="9183880" cy="286232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Create </a:t>
            </a:r>
            <a:r>
              <a:rPr lang="en-US" b="1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Python environment with `</a:t>
            </a:r>
            <a:r>
              <a:rPr lang="en-US" b="1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1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`, </a:t>
            </a:r>
            <a:r>
              <a:rPr lang="en-US" b="0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eg.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 named "</a:t>
            </a:r>
            <a:r>
              <a:rPr lang="en-US" b="0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"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reate -n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python=3.10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Activate "</a:t>
            </a:r>
            <a:r>
              <a:rPr lang="en-US" b="1" dirty="0" err="1">
                <a:solidFill>
                  <a:srgbClr val="ECFC0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" environment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activate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dirty="0">
              <a:solidFill>
                <a:srgbClr val="FFFFFF"/>
              </a:solidFill>
              <a:latin typeface="Consolas" panose="020B0609020204030204" pitchFamily="49" charset="0"/>
            </a:endParaRPr>
          </a:p>
          <a:p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Install required Python packages and start working. (Next slides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Deactivate "</a:t>
            </a:r>
            <a:r>
              <a:rPr lang="en-US" b="1" dirty="0" err="1">
                <a:solidFill>
                  <a:srgbClr val="ECFC0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" environment after finishing the dev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deactiva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F5F8A6E-99A8-577A-527A-B8046170E8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8043" y="3920828"/>
            <a:ext cx="3057525" cy="1905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2745D8A-E3FB-1B46-575B-6EAF3D6559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8043" y="5234937"/>
            <a:ext cx="29813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58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641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742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83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24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205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6A3DBC-2980-0E59-8C57-D8C3228833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4106BEC-62E2-473F-4174-E98DDAFEF4B4}"/>
              </a:ext>
            </a:extLst>
          </p:cNvPr>
          <p:cNvSpPr/>
          <p:nvPr/>
        </p:nvSpPr>
        <p:spPr>
          <a:xfrm>
            <a:off x="230736" y="752024"/>
            <a:ext cx="11716285" cy="60117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2276175-02EA-DAC2-A568-8692911ECC66}"/>
              </a:ext>
            </a:extLst>
          </p:cNvPr>
          <p:cNvSpPr/>
          <p:nvPr/>
        </p:nvSpPr>
        <p:spPr>
          <a:xfrm>
            <a:off x="223614" y="752024"/>
            <a:ext cx="11723407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AA144B-C8BC-02FF-ED59-E501038904DF}"/>
              </a:ext>
            </a:extLst>
          </p:cNvPr>
          <p:cNvGrpSpPr/>
          <p:nvPr/>
        </p:nvGrpSpPr>
        <p:grpSpPr>
          <a:xfrm>
            <a:off x="455082" y="905852"/>
            <a:ext cx="653739" cy="170917"/>
            <a:chOff x="779821" y="1187864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80762A8-D316-CBF2-3C91-A70E671BA4F0}"/>
                </a:ext>
              </a:extLst>
            </p:cNvPr>
            <p:cNvSpPr/>
            <p:nvPr/>
          </p:nvSpPr>
          <p:spPr>
            <a:xfrm>
              <a:off x="779821" y="1196411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29BC98B9-832D-5623-3675-C192EA07B1D7}"/>
                </a:ext>
              </a:extLst>
            </p:cNvPr>
            <p:cNvSpPr/>
            <p:nvPr/>
          </p:nvSpPr>
          <p:spPr>
            <a:xfrm>
              <a:off x="1044736" y="1187864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FC626E4-761E-9300-D64E-3EF2578048C5}"/>
                </a:ext>
              </a:extLst>
            </p:cNvPr>
            <p:cNvSpPr/>
            <p:nvPr/>
          </p:nvSpPr>
          <p:spPr>
            <a:xfrm>
              <a:off x="1271190" y="1187864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B2AF8A41-6BE1-4D2A-C956-22DB3B5E798B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1039384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oss Entropy Lo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0B0C24-9960-70DF-AEA6-7935CD2AABA1}"/>
              </a:ext>
            </a:extLst>
          </p:cNvPr>
          <p:cNvSpPr txBox="1"/>
          <p:nvPr/>
        </p:nvSpPr>
        <p:spPr>
          <a:xfrm>
            <a:off x="244979" y="1306708"/>
            <a:ext cx="6228462" cy="5355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functiona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uppose we have predi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ion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3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3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3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5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])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uppose we have target index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pply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oftmax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to the predi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ba_sofmax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oftma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elect the probabilities corresponding to the true class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lected_prob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ba_sofma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g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ompute the negative log likelihood lo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anual_cross_entropy_los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lected_proba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mea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41580A-DD1D-D691-EBF3-5D0F491F8F52}"/>
              </a:ext>
            </a:extLst>
          </p:cNvPr>
          <p:cNvSpPr/>
          <p:nvPr/>
        </p:nvSpPr>
        <p:spPr>
          <a:xfrm>
            <a:off x="1371628" y="752023"/>
            <a:ext cx="350802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loss_fn.ipynb</a:t>
            </a:r>
            <a:endParaRPr lang="en-US" dirty="0"/>
          </a:p>
        </p:txBody>
      </p:sp>
      <p:pic>
        <p:nvPicPr>
          <p:cNvPr id="18" name="Picture 17" descr="Project Jupyter - Wikipedia">
            <a:extLst>
              <a:ext uri="{FF2B5EF4-FFF2-40B4-BE49-F238E27FC236}">
                <a16:creationId xmlns:a16="http://schemas.microsoft.com/office/drawing/2014/main" id="{546728E6-2BF3-1040-2102-A01EA4604E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541" y="7777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E76AA3-C126-2CDF-80DE-794C8F723643}"/>
              </a:ext>
            </a:extLst>
          </p:cNvPr>
          <p:cNvSpPr txBox="1"/>
          <p:nvPr/>
        </p:nvSpPr>
        <p:spPr>
          <a:xfrm>
            <a:off x="6349526" y="1306708"/>
            <a:ext cx="5550494" cy="20621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rint out results</a:t>
            </a:r>
            <a:endParaRPr lang="en-US" sz="1600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600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prediction: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}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</a:t>
            </a:r>
            <a:r>
              <a:rPr lang="en-US" sz="1600" b="0" dirty="0" err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sz="1600" b="0" dirty="0" err="1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600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ma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ion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600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600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arget: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}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</a:t>
            </a:r>
            <a:r>
              <a:rPr lang="en-US" sz="1600" b="0" dirty="0" err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sz="1600" b="0" dirty="0" err="1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600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ma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600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600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proba_sofmax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}\</a:t>
            </a:r>
            <a:r>
              <a:rPr lang="en-US" sz="1600" b="0" dirty="0" err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sz="1600" b="0" dirty="0" err="1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600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ma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ba_sofmax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600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600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elected_proba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}\</a:t>
            </a:r>
            <a:r>
              <a:rPr lang="en-US" sz="1600" b="0" dirty="0" err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sz="1600" b="0" dirty="0" err="1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600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ma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lected_proba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600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600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manual_cross_entropy_loss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}\</a:t>
            </a:r>
            <a:r>
              <a:rPr lang="en-US" sz="1600" b="0" dirty="0" err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sz="1600" b="0" dirty="0" err="1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600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ma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anual_cross_entropy_loss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600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07C7C7F-31D5-E20E-E7BD-E473AF6855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4838" y="3655171"/>
            <a:ext cx="4229100" cy="244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557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6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3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7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4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16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3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9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81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3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31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9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36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6A3DBC-2980-0E59-8C57-D8C3228833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4106BEC-62E2-473F-4174-E98DDAFEF4B4}"/>
              </a:ext>
            </a:extLst>
          </p:cNvPr>
          <p:cNvSpPr/>
          <p:nvPr/>
        </p:nvSpPr>
        <p:spPr>
          <a:xfrm>
            <a:off x="230736" y="752024"/>
            <a:ext cx="11716285" cy="60117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2276175-02EA-DAC2-A568-8692911ECC66}"/>
              </a:ext>
            </a:extLst>
          </p:cNvPr>
          <p:cNvSpPr/>
          <p:nvPr/>
        </p:nvSpPr>
        <p:spPr>
          <a:xfrm>
            <a:off x="223614" y="752024"/>
            <a:ext cx="11723407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AA144B-C8BC-02FF-ED59-E501038904DF}"/>
              </a:ext>
            </a:extLst>
          </p:cNvPr>
          <p:cNvGrpSpPr/>
          <p:nvPr/>
        </p:nvGrpSpPr>
        <p:grpSpPr>
          <a:xfrm>
            <a:off x="455082" y="905852"/>
            <a:ext cx="653739" cy="170917"/>
            <a:chOff x="779821" y="1187864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80762A8-D316-CBF2-3C91-A70E671BA4F0}"/>
                </a:ext>
              </a:extLst>
            </p:cNvPr>
            <p:cNvSpPr/>
            <p:nvPr/>
          </p:nvSpPr>
          <p:spPr>
            <a:xfrm>
              <a:off x="779821" y="1196411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29BC98B9-832D-5623-3675-C192EA07B1D7}"/>
                </a:ext>
              </a:extLst>
            </p:cNvPr>
            <p:cNvSpPr/>
            <p:nvPr/>
          </p:nvSpPr>
          <p:spPr>
            <a:xfrm>
              <a:off x="1044736" y="1187864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FC626E4-761E-9300-D64E-3EF2578048C5}"/>
                </a:ext>
              </a:extLst>
            </p:cNvPr>
            <p:cNvSpPr/>
            <p:nvPr/>
          </p:nvSpPr>
          <p:spPr>
            <a:xfrm>
              <a:off x="1271190" y="1187864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B2AF8A41-6BE1-4D2A-C956-22DB3B5E798B}"/>
              </a:ext>
            </a:extLst>
          </p:cNvPr>
          <p:cNvSpPr txBox="1">
            <a:spLocks/>
          </p:cNvSpPr>
          <p:nvPr/>
        </p:nvSpPr>
        <p:spPr>
          <a:xfrm>
            <a:off x="0" y="85724"/>
            <a:ext cx="1039384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oss Entropy Lo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0B0C24-9960-70DF-AEA6-7935CD2AABA1}"/>
              </a:ext>
            </a:extLst>
          </p:cNvPr>
          <p:cNvSpPr txBox="1"/>
          <p:nvPr/>
        </p:nvSpPr>
        <p:spPr>
          <a:xfrm>
            <a:off x="291980" y="1306708"/>
            <a:ext cx="6228462" cy="480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efine the loss fun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ss_f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rossEntropyLos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uppose we have predic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ion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3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3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3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5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uppose we have target index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ompute the cross entropy lo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ss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ss_f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41580A-DD1D-D691-EBF3-5D0F491F8F52}"/>
              </a:ext>
            </a:extLst>
          </p:cNvPr>
          <p:cNvSpPr/>
          <p:nvPr/>
        </p:nvSpPr>
        <p:spPr>
          <a:xfrm>
            <a:off x="1371628" y="752023"/>
            <a:ext cx="350802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loss_fn.ipynb</a:t>
            </a:r>
            <a:endParaRPr lang="en-US" dirty="0"/>
          </a:p>
        </p:txBody>
      </p:sp>
      <p:pic>
        <p:nvPicPr>
          <p:cNvPr id="18" name="Picture 17" descr="Project Jupyter - Wikipedia">
            <a:extLst>
              <a:ext uri="{FF2B5EF4-FFF2-40B4-BE49-F238E27FC236}">
                <a16:creationId xmlns:a16="http://schemas.microsoft.com/office/drawing/2014/main" id="{546728E6-2BF3-1040-2102-A01EA4604E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541" y="7777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E76AA3-C126-2CDF-80DE-794C8F723643}"/>
              </a:ext>
            </a:extLst>
          </p:cNvPr>
          <p:cNvSpPr txBox="1"/>
          <p:nvPr/>
        </p:nvSpPr>
        <p:spPr>
          <a:xfrm>
            <a:off x="6691356" y="1306708"/>
            <a:ext cx="5208663" cy="13542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rint out result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600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prediction: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}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</a:t>
            </a:r>
            <a:r>
              <a:rPr lang="en-US" sz="1600" b="0" dirty="0" err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sz="1600" b="0" dirty="0" err="1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600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ma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ion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600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600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arget: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}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</a:t>
            </a:r>
            <a:r>
              <a:rPr lang="en-US" sz="1600" b="0" dirty="0" err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sz="1600" b="0" dirty="0" err="1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600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ma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600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600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ross_entropy_loss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}</a:t>
            </a:r>
            <a:r>
              <a:rPr lang="en-US" sz="1600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600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</a:t>
            </a:r>
            <a:r>
              <a:rPr lang="en-US" sz="1600" b="0" dirty="0" err="1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sz="1600" b="0" dirty="0" err="1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600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600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mat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6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ss</a:t>
            </a:r>
            <a:r>
              <a:rPr lang="en-US" sz="16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600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DCEAEE-1A81-CE8C-EE0E-0BDFDF51B6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1356" y="3026327"/>
            <a:ext cx="3952875" cy="136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912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821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68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 animBg="1"/>
    </p:bld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A78641-920A-6DD6-38B7-99F0F9D5FB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03493B-0CFB-FA4F-3AA3-A39A3F996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ine functions for training</a:t>
            </a:r>
          </a:p>
        </p:txBody>
      </p:sp>
      <p:pic>
        <p:nvPicPr>
          <p:cNvPr id="11268" name="Picture 4">
            <a:extLst>
              <a:ext uri="{FF2B5EF4-FFF2-40B4-BE49-F238E27FC236}">
                <a16:creationId xmlns:a16="http://schemas.microsoft.com/office/drawing/2014/main" id="{0813F5CC-2A3C-B829-EA00-133E9A10F3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5568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23EF7F-8940-EE89-36DD-9F69A6A88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432061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A34934-B412-6F38-C2A9-84B411C31B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11AF39-3993-2F8E-27D9-35BA5F5DE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ine functions for training</a:t>
            </a:r>
          </a:p>
        </p:txBody>
      </p:sp>
      <p:pic>
        <p:nvPicPr>
          <p:cNvPr id="11268" name="Picture 4">
            <a:extLst>
              <a:ext uri="{FF2B5EF4-FFF2-40B4-BE49-F238E27FC236}">
                <a16:creationId xmlns:a16="http://schemas.microsoft.com/office/drawing/2014/main" id="{ED322C73-3086-9AB0-2DED-629319A650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rrow: Left 2">
            <a:extLst>
              <a:ext uri="{FF2B5EF4-FFF2-40B4-BE49-F238E27FC236}">
                <a16:creationId xmlns:a16="http://schemas.microsoft.com/office/drawing/2014/main" id="{F58A7230-E273-ECB9-9FC7-13DB0FEDC44B}"/>
              </a:ext>
            </a:extLst>
          </p:cNvPr>
          <p:cNvSpPr/>
          <p:nvPr/>
        </p:nvSpPr>
        <p:spPr>
          <a:xfrm rot="10800000">
            <a:off x="3762197" y="3105570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519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AC876A-6C77-1842-0B51-307D63CAC1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CEBBF50F-69BF-2517-20A1-49CBD7330FDE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7AC0E3B-F2B5-8BC6-3B94-F4DD0A053ECB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31C9907-D2BE-E53D-C333-1013A242E057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9A5AB38-41F6-7AAF-CF14-D69147E1AFA5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675BE9C-8720-6ED2-71F7-F1DA66CB706E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B398662F-AED8-4AED-7205-397E5B62DB73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F155488B-E096-7F93-37B8-E55741E7DE5F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43BFC5F8-97CB-7931-CC58-808E6A689BE1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C2D1BE84-0CC8-640B-905F-696FDD01DE33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Tr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B1509B9-FC08-0EEC-C47D-AFC9B46E3699}"/>
              </a:ext>
            </a:extLst>
          </p:cNvPr>
          <p:cNvSpPr txBox="1"/>
          <p:nvPr/>
        </p:nvSpPr>
        <p:spPr>
          <a:xfrm>
            <a:off x="291979" y="1239144"/>
            <a:ext cx="11441397" cy="507831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o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boar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mmaryWrit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metric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x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etric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qd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qdm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tranformer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checkpoint_path</a:t>
            </a:r>
            <a:r>
              <a:rPr lang="en-US" b="0" dirty="0">
                <a:solidFill>
                  <a:schemeClr val="bg1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heckpoint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eprocessing_data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9D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i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ssign the device for computation (GPU if available, else CPU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device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uda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uda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s_availab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pu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Using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device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t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TensorBoard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writer for logging training metric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logs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mmaryWrit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og_dir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36532D86-22A8-5423-6EF6-AE8A98E7F2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1353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54C6EC-8352-D7D3-85F0-1886D29F1B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F06904C2-1802-0518-8D11-10EC9A2E9E2A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2FB357-207E-C182-6D37-732ECD2B1272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55FBE3A-4979-669F-8221-8D4A51AA3CA1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A5450BF-E03C-8F8C-1D45-4F17BDB25DC5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D4BAB2D-6243-2E6F-B4B9-3D7358BF4BB5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040EACD4-8150-41B4-A234-47388F645EBA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9BC49541-CCD7-70B0-288A-E0FB63D6BB22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D7338B64-A0A5-D12B-345C-AFB53202CFCA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1F8735F0-CD85-D332-77B6-13D50303DA02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Tr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838509-927A-C235-90D9-2BA788CCF0B1}"/>
              </a:ext>
            </a:extLst>
          </p:cNvPr>
          <p:cNvSpPr txBox="1"/>
          <p:nvPr/>
        </p:nvSpPr>
        <p:spPr>
          <a:xfrm>
            <a:off x="291979" y="1239144"/>
            <a:ext cx="11441397" cy="23083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heck if model directory exists, if not create one to save the model weight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no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o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xist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model_dir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o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kdi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model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Load and preprocess the datase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_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_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	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eprocessing_data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config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FD6FEB51-268C-5B64-AB6F-55D8648567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8841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0852AD-0AEC-39E5-7F15-340450E27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90B81E18-6C97-F3F5-D06E-8C03E240D74C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B71D87A-C186-892E-4414-203C4464591F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12E0D45-20F0-91CA-6EC9-5F3C973BD446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D84A181-A2E2-2F23-48CC-61E77B14692F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92D7FA8-7796-0D6B-A579-9EE82EEF4A56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04E64242-2472-E17D-58A5-1E3BFCFC2505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D4A61517-93BC-E6E8-7415-D206DE0C2679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6D17BBF8-0897-EFB5-C992-EAFA65610BFE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1CAF6656-8C18-8238-B8BD-99815AB4D22D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Tr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101B92-6BC7-BFC5-BD99-8C2465CD6044}"/>
              </a:ext>
            </a:extLst>
          </p:cNvPr>
          <p:cNvSpPr txBox="1"/>
          <p:nvPr/>
        </p:nvSpPr>
        <p:spPr>
          <a:xfrm>
            <a:off x="291979" y="1239144"/>
            <a:ext cx="11441397" cy="452431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   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Get vocab size for source and target languag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Transformer model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model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tranformer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config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optimizer (Adam in this case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optimizer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optim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da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arameter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r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earning_rat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ps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e-				9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itial_epoc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Get the checkpoint path if exist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heckpoint_pa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checkpoint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config)</a:t>
            </a: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  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237DBAFC-1508-431E-7135-D8972AF342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7137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EDB8C-EFA2-FE3A-25FC-F3DD22C8BB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612EE27F-D061-13C3-8C7E-3277E260D94E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C440778-FB7E-EE7A-FE04-0ECDCD69202A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FC21144-6177-C4D4-2DAA-37A368AD478A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A903776-7AE4-10B8-51E6-22A4C37AEBE9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6EFD479-2C7E-5E82-E070-BCFA15CED5CC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AE3D073-6E68-EF95-61B3-15512957ABDB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F105B1D-C177-3060-2D9D-766AC6C8664F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FA51A597-B641-6100-2E6D-2CC0D66CF9F2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78770FC6-0B2F-A46F-9DA8-304AF3905FAF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Tr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03D7EF-9357-C2FE-4545-F4F787C6B48B}"/>
              </a:ext>
            </a:extLst>
          </p:cNvPr>
          <p:cNvSpPr txBox="1"/>
          <p:nvPr/>
        </p:nvSpPr>
        <p:spPr>
          <a:xfrm>
            <a:off x="291979" y="1239144"/>
            <a:ext cx="11441397" cy="31393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   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f a checkpoint exists, load the model and optimizer states and continue training </a:t>
            </a:r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       	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from the last epo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heckpoint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Loading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checkpoint from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heckpoint_path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checkpoin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heckpoint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state_dic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heckpo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model_state_dic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itial_epoc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heckpo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poch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ptimiz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state_dic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heckpo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optimizer_state_dic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heckpo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No checkpoint found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F3FF819C-9E91-C6AF-2A3C-E3ED7F6774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0337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25F2CC-4A42-C507-7FE2-2FC8D015CA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466EE51C-1295-C13F-B998-D125D7039EBE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E153274-86E7-4EBE-D0FB-4745060F4976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B4EB9AC-7B24-4071-1F3D-D64DFCA54A28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902F9DF-EB03-705E-FEFC-73C39D10AA31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7D4995B-3F54-CE80-DC35-CE176AA45403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04A0B5BD-FCFB-A2E9-87B3-74A9DBB6EB69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F42AE00C-B9F2-4488-3A11-4B5428CCFBBC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D8244CED-84BB-6E3B-51AF-117276742DBF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EFAEE515-89E6-86CF-F1D8-EE79098AC213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Tr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2339C7-56BE-80DC-2409-DD35CB9D66BB}"/>
              </a:ext>
            </a:extLst>
          </p:cNvPr>
          <p:cNvSpPr txBox="1"/>
          <p:nvPr/>
        </p:nvSpPr>
        <p:spPr>
          <a:xfrm>
            <a:off x="291979" y="1239144"/>
            <a:ext cx="11552492" cy="507831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   # Define the loss function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CrossEntropyLoss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in this case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ss_functio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ossEntropyLos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ignore_index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ken_to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PAD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,</a:t>
            </a:r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 								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abel_smoothing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raining loop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epoch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g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itial_epo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poch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uda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mpty_cach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i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iterat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qd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_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sc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Training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Epoch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poch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dirty="0">
              <a:solidFill>
                <a:srgbClr val="FFFFFF"/>
              </a:solidFill>
              <a:latin typeface="Consolas" panose="020B0609020204030204" pitchFamily="49" charset="0"/>
            </a:endParaRPr>
          </a:p>
          <a:p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   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terate over each batch in the training data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batch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iterat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Move the encoder and decoder inputs and masks to the devic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bat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bat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bat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1, 1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bat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1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									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721B8239-DC2F-AC84-6BEA-EA394E73C8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9299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Package Instal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5143500" cy="4919421"/>
          </a:xfrm>
        </p:spPr>
        <p:txBody>
          <a:bodyPr>
            <a:normAutofit/>
          </a:bodyPr>
          <a:lstStyle/>
          <a:p>
            <a:r>
              <a:rPr lang="en-US" dirty="0"/>
              <a:t> Activate Python environment </a:t>
            </a:r>
          </a:p>
          <a:p>
            <a:r>
              <a:rPr lang="en-US" dirty="0"/>
              <a:t> Using `pip` inside either </a:t>
            </a:r>
            <a:r>
              <a:rPr lang="en-US" dirty="0" err="1"/>
              <a:t>venv</a:t>
            </a:r>
            <a:r>
              <a:rPr lang="en-US" dirty="0"/>
              <a:t> or </a:t>
            </a:r>
            <a:r>
              <a:rPr lang="en-US" dirty="0" err="1"/>
              <a:t>conda</a:t>
            </a:r>
            <a:r>
              <a:rPr lang="en-US" dirty="0"/>
              <a:t> environment</a:t>
            </a:r>
          </a:p>
          <a:p>
            <a:pPr marL="0" indent="0">
              <a:buNone/>
            </a:pPr>
            <a:endParaRPr lang="en-US" dirty="0"/>
          </a:p>
          <a:p>
            <a:pPr lvl="1"/>
            <a:r>
              <a:rPr lang="en-US" dirty="0"/>
              <a:t> Installing a Python package</a:t>
            </a:r>
          </a:p>
          <a:p>
            <a:pPr marL="457200" lvl="1" indent="0">
              <a:buNone/>
            </a:pPr>
            <a:r>
              <a:rPr lang="en-US" dirty="0"/>
              <a:t>`</a:t>
            </a:r>
            <a:r>
              <a:rPr lang="en-US" b="1" dirty="0"/>
              <a:t>pip install </a:t>
            </a:r>
            <a:r>
              <a:rPr lang="en-US" b="1" dirty="0" err="1"/>
              <a:t>package_name</a:t>
            </a:r>
            <a:r>
              <a:rPr lang="en-US" b="1" dirty="0"/>
              <a:t>==version</a:t>
            </a:r>
            <a:r>
              <a:rPr lang="en-US" dirty="0"/>
              <a:t>`</a:t>
            </a:r>
          </a:p>
          <a:p>
            <a:pPr marL="457200" lvl="1" indent="0">
              <a:buNone/>
            </a:pPr>
            <a:r>
              <a:rPr lang="en-US" dirty="0"/>
              <a:t>E.g. `</a:t>
            </a:r>
            <a:r>
              <a:rPr lang="en-US" b="1" dirty="0"/>
              <a:t>pip install torch==2.3.0</a:t>
            </a:r>
            <a:r>
              <a:rPr lang="en-US" dirty="0"/>
              <a:t>`</a:t>
            </a:r>
          </a:p>
          <a:p>
            <a:pPr marL="457200" lvl="1" indent="0">
              <a:buNone/>
            </a:pPr>
            <a:endParaRPr lang="en-US" dirty="0"/>
          </a:p>
          <a:p>
            <a:pPr lvl="1"/>
            <a:r>
              <a:rPr lang="en-US" dirty="0"/>
              <a:t>  Installing all required packages in "requirements.txt"</a:t>
            </a:r>
          </a:p>
          <a:p>
            <a:pPr marL="457200" lvl="1" indent="0">
              <a:buNone/>
            </a:pPr>
            <a:r>
              <a:rPr lang="en-US" dirty="0"/>
              <a:t>`</a:t>
            </a:r>
            <a:r>
              <a:rPr lang="en-US" b="1" dirty="0"/>
              <a:t>pip install –r requirements.txt</a:t>
            </a:r>
            <a:r>
              <a:rPr lang="en-US" dirty="0"/>
              <a:t>`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3A132E-DE6F-5274-A6F5-EAB19B512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952625"/>
            <a:ext cx="5903448" cy="432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716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0F6731-96B6-1D64-4C63-D6A1D40EB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6E85FC3D-E550-267C-4A66-B2AD50739FB5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5DA966A-2639-ECBC-D67B-46599227CC26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A0726F1-A333-9344-08F1-82D851C32477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BF00551-6684-6BC0-EAEA-024A7E34CF61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6EA0545-6915-A52A-CE62-AC3494A33023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7D7593CE-6E04-A47C-266B-64B33B60CB7B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6B42B7EE-4F64-176D-9597-582FDE26B2C3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88BFFC33-074C-92DB-08C6-4BDB1B090E62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9B11BEF0-C70F-8B6A-2414-3415BB11E969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Tr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BEA1039-718F-5BAB-A02B-1802C7043689}"/>
              </a:ext>
            </a:extLst>
          </p:cNvPr>
          <p:cNvSpPr txBox="1"/>
          <p:nvPr/>
        </p:nvSpPr>
        <p:spPr>
          <a:xfrm>
            <a:off x="291979" y="1239144"/>
            <a:ext cx="11552492" cy="3416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ss the inputs through the model #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</a:p>
          <a:p>
            <a:r>
              <a:rPr lang="en-US" i="1" dirty="0">
                <a:solidFill>
                  <a:srgbClr val="FFFFFF"/>
                </a:solidFill>
                <a:latin typeface="Consolas" panose="020B0609020204030204" pitchFamily="49" charset="0"/>
              </a:rPr>
              <a:t>	    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(batch_size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_d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	    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			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            </a:t>
            </a:r>
          </a:p>
          <a:p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	    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vocab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	    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jection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ojec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Load target/label sequences #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targe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bat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target_id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A9D0EEE4-D1C8-A614-7AD8-24A96F04EE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962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408AFC-18A6-29E5-A12F-48EF8FC8F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D5449661-6F46-3A6A-5A8C-1F996F038DD0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8A702DF-A0DC-4921-166A-36ED2850210C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A37B441-E46C-65E1-CB35-EF12596A251D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1E83479-59A0-6159-FBEA-04D54E7265DF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352982E9-21EA-8D52-679F-4FA2F6E8C180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4BC58B2-98AD-7E88-F3FC-44E5153A9D27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5A816259-3EC4-F7D8-5926-9AF3E0A04D5A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2E997FF6-B8E0-78D4-6EAC-A54CB55D2EE4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5E8AA8E2-C9E8-DDC8-56E2-9B341CA6CDE9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Tr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3206D0-DBF3-6943-4AE8-F17D014084B3}"/>
              </a:ext>
            </a:extLst>
          </p:cNvPr>
          <p:cNvSpPr txBox="1"/>
          <p:nvPr/>
        </p:nvSpPr>
        <p:spPr>
          <a:xfrm>
            <a:off x="291979" y="1239144"/>
            <a:ext cx="11552492" cy="480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	  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culate lo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loss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ss_func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jection_out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view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               		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targe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view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atch_iterato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et_postfi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{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raining Los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s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te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}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Log the loss to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TensorBoard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g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dd_scala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raining Los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s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te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g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lus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erform backpropaga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s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backwar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Update parameter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ptimiz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tep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ptimiz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zero_gra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t_to_non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+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4DDF00F0-7324-50E0-4892-C1D52B642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3173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6C0D5C-C3A6-C0D6-B320-62D4619F62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F1B31205-2823-287D-D722-886C2FE8AC09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C7DCA26-AF73-B073-CB1F-D8A80A366E6A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475E19B-9C68-CEA4-3F51-E27D50AA6311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CE62C52-ED43-B16F-2D4A-F87C1C5A92D1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E00AD88-F156-7B2F-A0C3-F9CAAD898D38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71B34382-CD32-BAC7-39C7-702B04C91DEE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BE77FEE7-9AD1-F2EF-AB24-A3D0F3FDBF27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31E79C78-933E-5898-75B4-63FBEDA407A5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187A92CC-CE94-EE22-E3E5-1E9C7A849960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Tr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F0C573-9783-5D51-3ECF-E1F739DFBB4A}"/>
              </a:ext>
            </a:extLst>
          </p:cNvPr>
          <p:cNvSpPr txBox="1"/>
          <p:nvPr/>
        </p:nvSpPr>
        <p:spPr>
          <a:xfrm>
            <a:off x="291979" y="1239144"/>
            <a:ext cx="11552492" cy="39703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       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Run validation at the end of each epo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valuatio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_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og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num_eval_sample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</a:t>
            </a: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172D2BF3-5D07-778D-73D7-3C7AA15661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4983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8EA30-3D3C-9AFE-980C-12DDCDD38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6204B7FC-C618-DCD2-4E36-70D86601BF2E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ABCEA1-3C44-A373-8FC9-26843EF9E79F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297A080-470A-F39F-C2CD-AE455C785552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7357B7A-0FA8-DA54-5412-091F6052230C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409458C-971C-7D76-E5EC-42F267E8786F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1EB8D47-F77C-19DF-5676-51A8036A6C02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5468EDAC-A600-2D71-5B06-A635AEB65737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7FC23B6-FF3E-84FA-8D41-FF2E9D7B1561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B979B66B-11DB-E59B-3043-D2A58EC00BC1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Tr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81D43D-E545-379E-7677-E713E3765887}"/>
              </a:ext>
            </a:extLst>
          </p:cNvPr>
          <p:cNvSpPr txBox="1"/>
          <p:nvPr/>
        </p:nvSpPr>
        <p:spPr>
          <a:xfrm>
            <a:off x="291979" y="1239144"/>
            <a:ext cx="11552492" cy="31393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ave model checkpoin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_checkpoint_pa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heckpoint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config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poch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:02d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av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poch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po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model_state_dic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tate_dic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optimizer_state_dic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optimiz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tate_dic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}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_checkpoint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5D526E1B-2994-C31C-E8F1-D1FF105C40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6998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9851341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7A3F62-2E7D-8808-8BA9-F9CBADD0FE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9A11F-C791-8813-C4D8-32AD7788B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ine functions for training</a:t>
            </a:r>
          </a:p>
        </p:txBody>
      </p:sp>
      <p:pic>
        <p:nvPicPr>
          <p:cNvPr id="11268" name="Picture 4">
            <a:extLst>
              <a:ext uri="{FF2B5EF4-FFF2-40B4-BE49-F238E27FC236}">
                <a16:creationId xmlns:a16="http://schemas.microsoft.com/office/drawing/2014/main" id="{EC0825E7-15E5-A733-44CB-B061511E89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rrow: Left 2">
            <a:extLst>
              <a:ext uri="{FF2B5EF4-FFF2-40B4-BE49-F238E27FC236}">
                <a16:creationId xmlns:a16="http://schemas.microsoft.com/office/drawing/2014/main" id="{1917CDA8-1CFC-FAA3-B872-8FEC4ECF1D79}"/>
              </a:ext>
            </a:extLst>
          </p:cNvPr>
          <p:cNvSpPr/>
          <p:nvPr/>
        </p:nvSpPr>
        <p:spPr>
          <a:xfrm rot="10800000">
            <a:off x="3779289" y="2800263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141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127D60-9CE4-4702-080F-684FA9F01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788781C-F293-CC16-3C6D-6749E0F49A14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01A29F1-3CC8-68E6-23AF-9A8EC75018B2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7794BCB-6790-E715-64A9-6074CB926281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FFBD6C8-27FD-2108-1DF6-DEDD391E39B1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C995EB7-FCB2-E263-6FB6-F87E70DA67F4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6FF1DC54-DB28-E326-49E9-10516F38E855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71F38FC3-5D24-C27F-0C7A-C7710DCCAAFA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F7A5AEA5-6836-778A-681E-72221D6547D5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F452331C-B906-B11C-4233-2DEFA30A1F33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9673841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Evaluation during trai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6A30D08-720A-EFC1-6AD5-485F666312DC}"/>
              </a:ext>
            </a:extLst>
          </p:cNvPr>
          <p:cNvSpPr txBox="1"/>
          <p:nvPr/>
        </p:nvSpPr>
        <p:spPr>
          <a:xfrm>
            <a:off x="291979" y="1239144"/>
            <a:ext cx="11552492" cy="452431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valuatio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odel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al_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ogs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num_eval_sample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</a:p>
          <a:p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   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et the model to evaluation mod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odel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va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Get the IDs for the start and end of sequence token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s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src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_to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SOS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os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src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_to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EOS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lists to store the source texts, target texts, and predicted text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urce_text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_text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ext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6C79679A-22D5-FAB2-DD5A-CB665232ED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7275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D27D7F-1C51-F3A4-3B91-CB825565B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60231B38-C495-A4A2-0CEE-EC830E4C74A5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5DE4C5E-BE3D-87EC-FA9C-3589A492CC60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B690A09-8D31-3064-05FD-143AC96D36CF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E163CC8-0BAC-8E01-F6CC-E669A84FF764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B445217-7969-240A-CD49-D2F5B2D7B7D6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A510785-0749-EE49-0C8E-C1354214E7AD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229A2F89-F190-47D2-D437-C6FE2461117D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344901A8-FEC9-A5B4-225E-978DDB8B3AAC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0A9B7B29-A947-B555-EAD0-570E830719BC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972511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Evaluation during trai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CD3020-0E44-40DB-05DB-191153AF3467}"/>
              </a:ext>
            </a:extLst>
          </p:cNvPr>
          <p:cNvSpPr txBox="1"/>
          <p:nvPr/>
        </p:nvSpPr>
        <p:spPr>
          <a:xfrm>
            <a:off x="291979" y="1239144"/>
            <a:ext cx="11552492" cy="39703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isable gradient calculation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o_gra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: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terate over the validation data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batch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al_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Get the encoder input and mask from the batch and move them to the devic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bat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evice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bat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evice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1, 1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ssert that the batch size is 1 for evaluat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se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Batch size must 		be 1 for evaluati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786B5E7-1D1C-9AE0-9424-E147D523C8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4150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FFCD9-0CE0-4429-68AA-3AD72DADC5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819004E9-A924-F868-6038-1C3FAFB802BA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9D9DC20-1304-DF24-F147-76EE3AD3357C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C6AB68C-0350-1382-0B0D-1E3D52430B00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EF64A85-4254-81EC-3961-193B619866EC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7896F2B-C455-A8D2-7F20-0E94EB4D909B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3CB408AD-ECDE-E19E-F64E-1A2353225C0D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6BDCBC95-0F41-8394-C795-3C9A629A56A5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92C380E2-5430-610F-2423-F2CEE3A0269E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345924F1-2630-3F1E-DCFC-13ED221A8165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10118223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Evaluation during trai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7251DA-E598-7E13-A3F7-026FE5732DB1}"/>
              </a:ext>
            </a:extLst>
          </p:cNvPr>
          <p:cNvSpPr txBox="1"/>
          <p:nvPr/>
        </p:nvSpPr>
        <p:spPr>
          <a:xfrm>
            <a:off x="291979" y="1239144"/>
            <a:ext cx="11552492" cy="42473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           # Perform inference using the model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dirty="0" err="1">
                <a:solidFill>
                  <a:srgbClr val="FFC600"/>
                </a:solidFill>
                <a:latin typeface="Consolas" panose="020B0609020204030204" pitchFamily="49" charset="0"/>
              </a:rPr>
              <a:t>infer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</a:t>
            </a:r>
            <a:r>
              <a:rPr lang="en-US" dirty="0" err="1">
                <a:solidFill>
                  <a:srgbClr val="FFC600"/>
                </a:solidFill>
                <a:latin typeface="Consolas" panose="020B0609020204030204" pitchFamily="49" charset="0"/>
              </a:rPr>
              <a:t>train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model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s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os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vice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Get the source text, target text, and predicted text from the bat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urce_tex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bat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ext_src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_tex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bat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ext_tg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ex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tgt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e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_out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ta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pu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umpy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ppend the texts to their respective list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urce_text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urce_tex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_text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_tex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ext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ex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</a:t>
            </a: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631B3D90-7ACE-A46B-6E5E-8D82F95998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9288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3BFC63-A48D-20C6-E16B-1AD1EC46A3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CF4F34BC-FA4E-C58F-7895-DF52FD081CD7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BC73083-3806-E1AB-4F2A-4BA5157C4CC6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6339AD0-6F24-65D8-735E-B346F0A409FF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22D45A8-1ADF-C284-BA03-843634D1D5CD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AEAF622-ACC4-7EA2-C419-507FB2EA5113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046FD060-5434-4447-36E8-29BAB458657E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DE8A0FE-1A51-DF4A-AD2A-28C9D6F50340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D32AB61C-DBAB-7772-2AFF-AE8968C70036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5A74A4A7-6F54-ED7F-FB0A-6167E546A975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10015673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Evaluation during trai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6477B2-D9E4-8484-1FB9-5267E89A259D}"/>
              </a:ext>
            </a:extLst>
          </p:cNvPr>
          <p:cNvSpPr txBox="1"/>
          <p:nvPr/>
        </p:nvSpPr>
        <p:spPr>
          <a:xfrm>
            <a:off x="291979" y="1239144"/>
            <a:ext cx="11552492" cy="36933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rint the source text, target text, and predicted tex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Source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urce_text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Target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_text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Predicted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ext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--------------------------------------------------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Break the loop if the number of evaluation samples has been reached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urce_text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num_eval_sample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*************** EVALUATION COMPLETED - GO TO NEXT EPOCH 					***************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brea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F44448B0-619F-CCAB-F5F7-B2F52B92BA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9333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917530-29CA-230E-7DBB-E36674CCF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 u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35EFD-6B72-16BE-135D-27DD69C159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IDE: </a:t>
            </a:r>
          </a:p>
          <a:p>
            <a:pPr lvl="1"/>
            <a:r>
              <a:rPr lang="en-US" b="1" dirty="0"/>
              <a:t>VS Code</a:t>
            </a:r>
          </a:p>
          <a:p>
            <a:pPr lvl="1"/>
            <a:endParaRPr lang="en-US" b="1" dirty="0"/>
          </a:p>
          <a:p>
            <a:r>
              <a:rPr lang="en-US" dirty="0"/>
              <a:t>Terminal (Windows): </a:t>
            </a:r>
          </a:p>
          <a:p>
            <a:pPr lvl="1"/>
            <a:r>
              <a:rPr lang="en-US" b="1" dirty="0"/>
              <a:t>For window: PowerShell</a:t>
            </a:r>
          </a:p>
          <a:p>
            <a:pPr lvl="1"/>
            <a:r>
              <a:rPr lang="en-US" b="1" dirty="0"/>
              <a:t>For Linux: Terminal</a:t>
            </a:r>
          </a:p>
          <a:p>
            <a:pPr lvl="1"/>
            <a:r>
              <a:rPr lang="en-US" b="1" dirty="0"/>
              <a:t>For macOS: iTerm2</a:t>
            </a:r>
          </a:p>
          <a:p>
            <a:pPr lvl="1"/>
            <a:endParaRPr lang="en-US" b="1" dirty="0"/>
          </a:p>
          <a:p>
            <a:r>
              <a:rPr lang="en-US" dirty="0"/>
              <a:t> Install Python and create environment: </a:t>
            </a:r>
          </a:p>
          <a:p>
            <a:pPr lvl="1"/>
            <a:r>
              <a:rPr lang="en-US" b="1" dirty="0" err="1"/>
              <a:t>conda</a:t>
            </a:r>
            <a:r>
              <a:rPr lang="en-US" dirty="0"/>
              <a:t> (Anaconda)</a:t>
            </a:r>
          </a:p>
          <a:p>
            <a:pPr lvl="1"/>
            <a:endParaRPr lang="en-US" dirty="0"/>
          </a:p>
          <a:p>
            <a:r>
              <a:rPr lang="en-US" dirty="0"/>
              <a:t> Install Python packages: </a:t>
            </a:r>
          </a:p>
          <a:p>
            <a:pPr lvl="1"/>
            <a:r>
              <a:rPr lang="en-US" b="1" dirty="0"/>
              <a:t>pip</a:t>
            </a:r>
          </a:p>
        </p:txBody>
      </p:sp>
      <p:pic>
        <p:nvPicPr>
          <p:cNvPr id="5" name="Picture 8" descr="pypi · GitHub Topics · GitHub">
            <a:extLst>
              <a:ext uri="{FF2B5EF4-FFF2-40B4-BE49-F238E27FC236}">
                <a16:creationId xmlns:a16="http://schemas.microsoft.com/office/drawing/2014/main" id="{3EC9735F-1B68-BA48-4A60-401A68A22F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48" t="23374" r="20524" b="22999"/>
          <a:stretch/>
        </p:blipFill>
        <p:spPr bwMode="auto">
          <a:xfrm>
            <a:off x="2418206" y="5821340"/>
            <a:ext cx="705257" cy="61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" descr="PowerShell - Wikipedia">
            <a:extLst>
              <a:ext uri="{FF2B5EF4-FFF2-40B4-BE49-F238E27FC236}">
                <a16:creationId xmlns:a16="http://schemas.microsoft.com/office/drawing/2014/main" id="{64B5473A-611F-B9A6-5707-DB51444A8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426" y="3014110"/>
            <a:ext cx="489592" cy="489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4" descr="Visual Studio Code — Wikipédia">
            <a:extLst>
              <a:ext uri="{FF2B5EF4-FFF2-40B4-BE49-F238E27FC236}">
                <a16:creationId xmlns:a16="http://schemas.microsoft.com/office/drawing/2014/main" id="{FFE569FE-9144-A9BF-4B4D-F57632E9ED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1076" y="2027597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E311A6B-CEE3-2475-A263-F847AC14B1FE}"/>
              </a:ext>
            </a:extLst>
          </p:cNvPr>
          <p:cNvGrpSpPr/>
          <p:nvPr/>
        </p:nvGrpSpPr>
        <p:grpSpPr>
          <a:xfrm>
            <a:off x="4107268" y="4814074"/>
            <a:ext cx="1406083" cy="480150"/>
            <a:chOff x="6883676" y="6100833"/>
            <a:chExt cx="1406083" cy="480150"/>
          </a:xfrm>
        </p:grpSpPr>
        <p:pic>
          <p:nvPicPr>
            <p:cNvPr id="10" name="Picture 9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A1ABEDCC-C031-999B-B064-3D0B9310D7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1" name="Picture 4" descr="Anaconda (Python distribution) - Wikipedia">
              <a:extLst>
                <a:ext uri="{FF2B5EF4-FFF2-40B4-BE49-F238E27FC236}">
                  <a16:creationId xmlns:a16="http://schemas.microsoft.com/office/drawing/2014/main" id="{327A9AD8-DC49-9FAF-69A0-7B717B1447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B3E3E6C-5362-7DC1-FD98-C44C83343ABB}"/>
              </a:ext>
            </a:extLst>
          </p:cNvPr>
          <p:cNvSpPr txBox="1"/>
          <p:nvPr/>
        </p:nvSpPr>
        <p:spPr>
          <a:xfrm>
            <a:off x="7282873" y="4647893"/>
            <a:ext cx="4401127" cy="64633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reate -n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python=3.10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activate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A30DF2-FA1A-2042-A50B-21C76B42F138}"/>
              </a:ext>
            </a:extLst>
          </p:cNvPr>
          <p:cNvSpPr txBox="1"/>
          <p:nvPr/>
        </p:nvSpPr>
        <p:spPr>
          <a:xfrm>
            <a:off x="7282872" y="5942568"/>
            <a:ext cx="440112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ip install –r requirements.txt</a:t>
            </a:r>
          </a:p>
        </p:txBody>
      </p:sp>
      <p:pic>
        <p:nvPicPr>
          <p:cNvPr id="14" name="Picture 12" descr="iTerm2 - Wikipedia">
            <a:extLst>
              <a:ext uri="{FF2B5EF4-FFF2-40B4-BE49-F238E27FC236}">
                <a16:creationId xmlns:a16="http://schemas.microsoft.com/office/drawing/2014/main" id="{4E5EE142-C07A-1DC8-3E59-1EDD837CFB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06" y="3638639"/>
            <a:ext cx="505457" cy="505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inux Terminal icon - SimpleCodeTips">
            <a:extLst>
              <a:ext uri="{FF2B5EF4-FFF2-40B4-BE49-F238E27FC236}">
                <a16:creationId xmlns:a16="http://schemas.microsoft.com/office/drawing/2014/main" id="{A49F04D2-70CB-4C05-B9F7-8695DF95A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0299" y="3385637"/>
            <a:ext cx="460008" cy="460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9157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C8B444-4C44-14CE-FA9D-7E41F368AD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9B2DEE2E-878A-DEB8-E72B-85F4D5022B4F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F275C60-8947-EE1E-5A80-7EBED56E274E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E6438F5-A26F-5321-0452-4C586C311C12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ECAE2CA-DE1F-0779-73F9-F1F2A74C8DA4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BA79905-F0A1-6D73-07E6-BB74559E0EF7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BE916D9C-7552-E548-4282-B2705DC86E91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A601078-EF4C-A6F1-2694-815CAFF4162D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A8A6D4A7-1FA4-BAB0-A571-B30076BD22BD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B8184C0D-BC1D-2E4E-A623-92DC2D6F1D36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10024219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Evaluation during trai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E08405-7D25-F0EC-B324-935B23C2720D}"/>
              </a:ext>
            </a:extLst>
          </p:cNvPr>
          <p:cNvSpPr txBox="1"/>
          <p:nvPr/>
        </p:nvSpPr>
        <p:spPr>
          <a:xfrm>
            <a:off x="291979" y="1239144"/>
            <a:ext cx="11552492" cy="5355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ogs: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culate the BLEU scor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leu_metri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etric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BLEUScor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leu_scor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leu_metri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ext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_text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ogs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add_scala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Validation BLEU Scor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bleu_scor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ogs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flus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culate the word error rat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wer_metri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etric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WordErrorRat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wer_scor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wer_metri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ext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_text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ogs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add_scala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Validation Word Error Rat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wer_scor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ogs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flus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 </a:t>
            </a:r>
          </a:p>
          <a:p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	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culate character error rat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er_metri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etric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harErrorRat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er_scor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er_metri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ext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arget_text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ogs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add_scala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Validation Character Error Rat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er_scor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global_step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ogs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flus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A2C927EC-B881-0FBE-E65C-127445B226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8587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6F366-CC28-95D9-2921-489CFAFD8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095734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F47C74-82B0-2690-8030-00F755292F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C67927-2533-B514-A0AE-F1F9A410C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ine functions for training</a:t>
            </a:r>
          </a:p>
        </p:txBody>
      </p:sp>
      <p:pic>
        <p:nvPicPr>
          <p:cNvPr id="11268" name="Picture 4">
            <a:extLst>
              <a:ext uri="{FF2B5EF4-FFF2-40B4-BE49-F238E27FC236}">
                <a16:creationId xmlns:a16="http://schemas.microsoft.com/office/drawing/2014/main" id="{2DFF130C-25C2-4121-30DA-0C1E401F3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rrow: Left 2">
            <a:extLst>
              <a:ext uri="{FF2B5EF4-FFF2-40B4-BE49-F238E27FC236}">
                <a16:creationId xmlns:a16="http://schemas.microsoft.com/office/drawing/2014/main" id="{3353CF10-A3BC-8E36-6FC9-51563DF917FB}"/>
              </a:ext>
            </a:extLst>
          </p:cNvPr>
          <p:cNvSpPr/>
          <p:nvPr/>
        </p:nvSpPr>
        <p:spPr>
          <a:xfrm rot="10800000">
            <a:off x="3779289" y="2509706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159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4BF78B-B926-E1F4-876B-D37547F89A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AD24F4C7-08A8-32FE-817C-77418F5C104B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7373FCA-5EBF-0C7E-FC71-A2FB6416430C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4D0BBDE-329B-7D3B-148A-FCCAD6BCDB5E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B2BDF20-52D9-DA51-C86F-B6027560C082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2C77D375-B200-4FFF-9EDB-A1E5BF30DFA1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533228A4-B6A4-B388-1B2D-52E84AF884C1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F4D24874-AFF0-DB7D-0EE9-E12F98875C35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C7858BB3-9561-D38B-612A-9E380DB4AA98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BB0F8F99-8287-7F0C-ED38-3B410E505826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10160952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Inference during trai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2D45DF-DE9E-C58D-D4C8-1FDD88CF3602}"/>
              </a:ext>
            </a:extLst>
          </p:cNvPr>
          <p:cNvSpPr txBox="1"/>
          <p:nvPr/>
        </p:nvSpPr>
        <p:spPr>
          <a:xfrm>
            <a:off x="291979" y="1239144"/>
            <a:ext cx="11552492" cy="42473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fer_training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odel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os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os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Encode the input using the model #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odel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n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decoder input with the start of sequence toke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[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os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])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ype_a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evice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(1, 1)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Loop until the sequence length of the decoder input equals the sequence length of 	the encoder inpu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brea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   </a:t>
            </a: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13A35C0E-C0C3-DADC-D46D-50C8937801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3572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CAFE5D-52C0-91F9-1923-1B53EDE951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F7863EF5-5248-978B-E93B-9AAE442BF527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B0719B9-4B05-A63A-BDBE-061A6AD0049C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6793573-A080-5997-4A6B-B1FFCAE9361C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4DF0500-1303-3FE1-CA7A-37C2D3BDCFFE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DCD5586-6B25-0C65-5F1B-BD1ABB48D0F8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AD0710A5-CD6A-499C-169A-95F13BE504A9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476222AD-0024-E7F4-8C01-B5D22CD3E4C0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96163C06-B500-98CE-4208-D73D20811E6C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94A8B33D-E744-45C2-A967-D86CE5867032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10160952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Inference during trai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6601B3-77B5-55B7-32DC-487BAE60546C}"/>
              </a:ext>
            </a:extLst>
          </p:cNvPr>
          <p:cNvSpPr txBox="1"/>
          <p:nvPr/>
        </p:nvSpPr>
        <p:spPr>
          <a:xfrm>
            <a:off x="291979" y="1239144"/>
            <a:ext cx="11552492" cy="36933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 causal mask for the decoder inpu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	 		  						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ype_a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evice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ecode the encoder output using the model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odel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e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elect the last token from th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dimens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st_token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: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</a:t>
            </a: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459FEFF5-627B-8C2F-8EA7-EE97D30A55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770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63E7C-7CCC-72FF-0AF7-12E423ABE8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AF55ED6A-3BA0-0C51-C688-BE402E1D52E4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613B1B9-41C5-1E48-2BF8-5DB5B090CC9B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97CD77B-A5CC-300B-F98C-EFC717980001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9ED26C1-5C00-441F-6D9D-CA6BC350ECD9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3613402-8400-2D7B-C141-7959FFB7253C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21E339B-0A18-FB8B-068D-86722B581C70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12B31798-A29A-CE09-722B-5D48DAC3C08E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3E764366-60BE-0AF8-081F-532DB004E71B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5DE84470-F353-00C6-FEAF-F8FC06DD66B9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10263501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Engine – Inference during trai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080C4E-8CA2-F3E6-B5EE-85894B258158}"/>
              </a:ext>
            </a:extLst>
          </p:cNvPr>
          <p:cNvSpPr txBox="1"/>
          <p:nvPr/>
        </p:nvSpPr>
        <p:spPr>
          <a:xfrm>
            <a:off x="291979" y="1239144"/>
            <a:ext cx="11552492" cy="4801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       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roject the output to the target vocab siz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jection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odel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rojec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st_token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predicted_tok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is th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indic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of the max value in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projection_output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meaning the 	 id in vocabulary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       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jection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      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nsquee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			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ype_a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			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evice)],</a:t>
            </a:r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Break the loop if the predicted token is the end of sequence toke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os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brea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Return the decoder input, removing the batch dimensi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quee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EC52B5E0-1F5D-3F02-68D0-D985614EA7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9723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FFBF26-6165-DD46-F96F-B49417A83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6066159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5D7FAF-4B78-B9DE-E073-42C24F0C28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2ED9FB4F-35C2-A36B-1CEC-288AB8749504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68A34A-9D8E-5EE9-8076-9D3DE338CFC9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D81C4AB-927D-771C-AE9F-CE3163186477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3F7A8E9-7B0D-E758-D6AB-4C80CDC1734C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rain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9BD2913-FFCD-D2AC-FD23-685B44516FFF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D5585F3-12A7-A11F-553F-00963FF328D3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D0F2D087-7A8A-7A08-4AD2-0E8C249D1F3B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598DF6C2-5E4B-54E3-6380-58EC17ABF776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642814DF-6DDD-833B-532D-62D2FEE4E3D4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10160952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Training in a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2B6EA7-281C-11CE-A7EA-64D7DD382838}"/>
              </a:ext>
            </a:extLst>
          </p:cNvPr>
          <p:cNvSpPr txBox="1"/>
          <p:nvPr/>
        </p:nvSpPr>
        <p:spPr>
          <a:xfrm>
            <a:off x="291979" y="1239144"/>
            <a:ext cx="11552492" cy="286232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gin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i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__name__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__main__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onfig.js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config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i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   </a:t>
            </a: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E1D87EA0-2595-5D2B-A629-A6EBF81B62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51DCD63-60E1-C4B4-358E-355A9591C9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6459" y="798062"/>
            <a:ext cx="1787247" cy="541803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17264C5-2016-93D4-E34C-31EA9FCEE59A}"/>
              </a:ext>
            </a:extLst>
          </p:cNvPr>
          <p:cNvSpPr/>
          <p:nvPr/>
        </p:nvSpPr>
        <p:spPr>
          <a:xfrm>
            <a:off x="291979" y="798062"/>
            <a:ext cx="5433703" cy="2466431"/>
          </a:xfrm>
          <a:prstGeom prst="rect">
            <a:avLst/>
          </a:prstGeom>
          <a:noFill/>
          <a:ln>
            <a:solidFill>
              <a:srgbClr val="00994D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57DF106-3517-2535-6537-CE46B52B4892}"/>
              </a:ext>
            </a:extLst>
          </p:cNvPr>
          <p:cNvSpPr/>
          <p:nvPr/>
        </p:nvSpPr>
        <p:spPr>
          <a:xfrm>
            <a:off x="8272097" y="1719702"/>
            <a:ext cx="1598296" cy="2407412"/>
          </a:xfrm>
          <a:prstGeom prst="rect">
            <a:avLst/>
          </a:prstGeom>
          <a:noFill/>
          <a:ln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BE1BBE8-C426-6770-533F-E77B184F80E8}"/>
              </a:ext>
            </a:extLst>
          </p:cNvPr>
          <p:cNvCxnSpPr/>
          <p:nvPr/>
        </p:nvCxnSpPr>
        <p:spPr>
          <a:xfrm flipH="1" flipV="1">
            <a:off x="5725682" y="3264493"/>
            <a:ext cx="2709017" cy="2768838"/>
          </a:xfrm>
          <a:prstGeom prst="line">
            <a:avLst/>
          </a:prstGeom>
          <a:ln>
            <a:solidFill>
              <a:srgbClr val="00994D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23C4B60-6BD0-0922-E0D1-AF1D3A95197E}"/>
              </a:ext>
            </a:extLst>
          </p:cNvPr>
          <p:cNvCxnSpPr/>
          <p:nvPr/>
        </p:nvCxnSpPr>
        <p:spPr>
          <a:xfrm>
            <a:off x="5460763" y="1495514"/>
            <a:ext cx="2811334" cy="224188"/>
          </a:xfrm>
          <a:prstGeom prst="line">
            <a:avLst/>
          </a:prstGeom>
          <a:ln>
            <a:solidFill>
              <a:srgbClr val="FFC00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446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61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61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61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61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61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 animBg="1"/>
      <p:bldP spid="19" grpId="0" animBg="1"/>
    </p:bldLst>
  </p:timing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BFC77C-A821-0615-8154-DAA83184A2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29645ED-F4D9-0EF4-B1FF-EE7DA2AA3988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10160952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Training in ac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D08BC59-CA5D-F99F-8572-4C04A852A5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381" y="1143785"/>
            <a:ext cx="10706100" cy="11620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444749C-0CEC-EF60-FA69-B7E00F217D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381" y="819141"/>
            <a:ext cx="1266825" cy="25717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46902DA-7A33-0448-23B3-412D9C1C1C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381" y="2460358"/>
            <a:ext cx="1422372" cy="431191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5431198-DE71-9861-F895-27768ADB47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2753" y="2460358"/>
            <a:ext cx="2175860" cy="431191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4BD7D326-AB7C-A412-78BD-AC8F8CFA0F91}"/>
              </a:ext>
            </a:extLst>
          </p:cNvPr>
          <p:cNvSpPr/>
          <p:nvPr/>
        </p:nvSpPr>
        <p:spPr>
          <a:xfrm>
            <a:off x="213112" y="2643953"/>
            <a:ext cx="1085850" cy="192893"/>
          </a:xfrm>
          <a:prstGeom prst="rect">
            <a:avLst/>
          </a:prstGeom>
          <a:noFill/>
          <a:ln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02205F8-9B65-7C50-9B9B-22F9BA008EE3}"/>
              </a:ext>
            </a:extLst>
          </p:cNvPr>
          <p:cNvCxnSpPr>
            <a:cxnSpLocks/>
            <a:endCxn id="22" idx="3"/>
          </p:cNvCxnSpPr>
          <p:nvPr/>
        </p:nvCxnSpPr>
        <p:spPr>
          <a:xfrm flipH="1">
            <a:off x="1298962" y="2485996"/>
            <a:ext cx="402422" cy="254404"/>
          </a:xfrm>
          <a:prstGeom prst="line">
            <a:avLst/>
          </a:prstGeom>
          <a:ln>
            <a:solidFill>
              <a:srgbClr val="00B05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9F5B1F2D-D486-24D9-9252-73BE2663B79C}"/>
              </a:ext>
            </a:extLst>
          </p:cNvPr>
          <p:cNvSpPr/>
          <p:nvPr/>
        </p:nvSpPr>
        <p:spPr>
          <a:xfrm>
            <a:off x="1675746" y="2494542"/>
            <a:ext cx="2039899" cy="4192431"/>
          </a:xfrm>
          <a:prstGeom prst="rect">
            <a:avLst/>
          </a:prstGeom>
          <a:noFill/>
          <a:ln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046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8" grpId="0" animBg="1"/>
    </p:bldLst>
  </p:timing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33936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312400-8980-844F-163A-51468C146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the first part, 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31A947-C0B2-F2F6-3798-A5C9A8B382CA}"/>
              </a:ext>
            </a:extLst>
          </p:cNvPr>
          <p:cNvSpPr txBox="1"/>
          <p:nvPr/>
        </p:nvSpPr>
        <p:spPr>
          <a:xfrm>
            <a:off x="1264397" y="5382352"/>
            <a:ext cx="40902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i="1" dirty="0"/>
              <a:t>Attention Is All You Need, A. Vaswani et al, 2017, </a:t>
            </a:r>
          </a:p>
          <a:p>
            <a:pPr algn="ctr"/>
            <a:r>
              <a:rPr lang="en-US" sz="1100" b="1" i="1" dirty="0"/>
              <a:t>https://arxiv.org/abs/1706.03762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56F7693-5312-B218-E85E-593AA77BA409}"/>
              </a:ext>
            </a:extLst>
          </p:cNvPr>
          <p:cNvGrpSpPr>
            <a:grpSpLocks noChangeAspect="1"/>
          </p:cNvGrpSpPr>
          <p:nvPr/>
        </p:nvGrpSpPr>
        <p:grpSpPr>
          <a:xfrm>
            <a:off x="1061782" y="2293248"/>
            <a:ext cx="4713395" cy="2928983"/>
            <a:chOff x="2735728" y="1970925"/>
            <a:chExt cx="7090940" cy="440643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F63EE56-3306-9037-6D25-B3246F2798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00471" y="1970926"/>
              <a:ext cx="2926197" cy="4406429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79960E4-7246-2137-7CF9-55F3DDB444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35728" y="1970925"/>
              <a:ext cx="3970044" cy="4406430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0" name="Arrow: Curved Right 9">
            <a:extLst>
              <a:ext uri="{FF2B5EF4-FFF2-40B4-BE49-F238E27FC236}">
                <a16:creationId xmlns:a16="http://schemas.microsoft.com/office/drawing/2014/main" id="{C1E48600-2AC6-9D20-98CF-5C5002BCBDB1}"/>
              </a:ext>
            </a:extLst>
          </p:cNvPr>
          <p:cNvSpPr/>
          <p:nvPr/>
        </p:nvSpPr>
        <p:spPr>
          <a:xfrm rot="16200000">
            <a:off x="6193008" y="4945686"/>
            <a:ext cx="446207" cy="1632247"/>
          </a:xfrm>
          <a:prstGeom prst="curvedRightArrow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3812A7E5-E2FB-6086-9B9D-5DEE2DD62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77852" y="1500471"/>
            <a:ext cx="4527336" cy="3881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477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30912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B55D2-77F9-C69C-354C-CB34D196E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eren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7EB6F7-968C-0A22-12C7-8324B4C45FD0}"/>
              </a:ext>
            </a:extLst>
          </p:cNvPr>
          <p:cNvSpPr txBox="1"/>
          <p:nvPr/>
        </p:nvSpPr>
        <p:spPr>
          <a:xfrm>
            <a:off x="7162347" y="3034510"/>
            <a:ext cx="2332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anslated sentenc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1F6C2BB-0AE3-CB25-8EEE-A454817D8CC0}"/>
              </a:ext>
            </a:extLst>
          </p:cNvPr>
          <p:cNvCxnSpPr>
            <a:cxnSpLocks/>
          </p:cNvCxnSpPr>
          <p:nvPr/>
        </p:nvCxnSpPr>
        <p:spPr>
          <a:xfrm>
            <a:off x="3179819" y="3401513"/>
            <a:ext cx="177646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231D2707-3AAA-BF04-1E00-67A2932618A7}"/>
              </a:ext>
            </a:extLst>
          </p:cNvPr>
          <p:cNvCxnSpPr>
            <a:cxnSpLocks/>
          </p:cNvCxnSpPr>
          <p:nvPr/>
        </p:nvCxnSpPr>
        <p:spPr>
          <a:xfrm>
            <a:off x="7173184" y="3405344"/>
            <a:ext cx="215960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981DB4FB-256F-12A5-48EE-76B8B8003156}"/>
              </a:ext>
            </a:extLst>
          </p:cNvPr>
          <p:cNvSpPr txBox="1"/>
          <p:nvPr/>
        </p:nvSpPr>
        <p:spPr>
          <a:xfrm>
            <a:off x="2906355" y="3032181"/>
            <a:ext cx="1913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 sentence</a:t>
            </a:r>
            <a:endParaRPr lang="en-US" b="1" dirty="0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E56B2FA0-C34F-94FB-8CD4-51E12644FF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29" y="3021624"/>
            <a:ext cx="521219" cy="274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France flag">
            <a:extLst>
              <a:ext uri="{FF2B5EF4-FFF2-40B4-BE49-F238E27FC236}">
                <a16:creationId xmlns:a16="http://schemas.microsoft.com/office/drawing/2014/main" id="{6C52A683-7131-B72F-96DE-072C8D96E6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45" b="17500"/>
          <a:stretch/>
        </p:blipFill>
        <p:spPr bwMode="auto">
          <a:xfrm>
            <a:off x="9495161" y="2961993"/>
            <a:ext cx="509310" cy="333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082A645-61BF-C875-BF18-90550CA90BA9}"/>
              </a:ext>
            </a:extLst>
          </p:cNvPr>
          <p:cNvSpPr/>
          <p:nvPr/>
        </p:nvSpPr>
        <p:spPr>
          <a:xfrm>
            <a:off x="4941668" y="2879153"/>
            <a:ext cx="2231516" cy="1044719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ined model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9F3F18AC-D41D-8D62-EE00-F765200352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6276" y="3216847"/>
            <a:ext cx="7715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4084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11" grpId="0" animBg="1"/>
    </p:bldLst>
  </p:timing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717FF9-473D-B3E6-CDFC-6FAE6C1B9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ine function for inference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A0BD40E0-7727-17BE-9074-3B63D0C72E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rrow: Left 2">
            <a:extLst>
              <a:ext uri="{FF2B5EF4-FFF2-40B4-BE49-F238E27FC236}">
                <a16:creationId xmlns:a16="http://schemas.microsoft.com/office/drawing/2014/main" id="{18EFA00A-DDF4-E2C1-D7E1-6CB970E23566}"/>
              </a:ext>
            </a:extLst>
          </p:cNvPr>
          <p:cNvSpPr/>
          <p:nvPr/>
        </p:nvSpPr>
        <p:spPr>
          <a:xfrm rot="10800000">
            <a:off x="3762197" y="2244787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091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49726C-2FFC-4456-E08A-BF3D6BDD1E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4E6A10F7-2BD1-4E8A-F193-DC0C92869E9E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51FAB6A-8D4D-7E0B-5852-678EC4211246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9A5B8A1-2BED-DC4E-25B6-7BC2886A4322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B3B9696-E5D6-A038-B0F7-A0323D5B1601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F658D48-2BC2-E904-94CC-1CA62C6F8986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E2E790EA-E4F3-3CCA-7DF2-B356F9A2BEC4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486FA3A5-3AF2-F57D-0080-EE0A1F0327C8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89AD2DE2-4667-AEEB-9CA0-129244627E62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93AC5398-CC5E-9084-5175-1D6F0A8583E4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834069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Infere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427DB1-F705-E6CC-9AF1-38E4375AE6ED}"/>
              </a:ext>
            </a:extLst>
          </p:cNvPr>
          <p:cNvSpPr txBox="1"/>
          <p:nvPr/>
        </p:nvSpPr>
        <p:spPr>
          <a:xfrm>
            <a:off x="291979" y="1239144"/>
            <a:ext cx="11552492" cy="5355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ferenc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rc_tex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odel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					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et the model to evaluation mode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odel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va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isable gradient calculation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o_gra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okenize the source tex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d_src_tex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src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n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rc_tex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culate the number of padding tokens needed for the encoder inpu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padding_nu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d_src_tex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2: [SOS] &amp; [EOS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Get the IDs of the special tokens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s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src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_to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SOS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os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src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_to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EOS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src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_to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PAD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5400EBE1-A072-C531-D014-6BC4E21179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2426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EF4DD7-7531-8021-A9BC-AE433CE118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3A31C157-24B3-2899-90DF-E347F38C19EE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C308D9E-CA84-E9D1-E2FA-6FC3C41FA60D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F41F29-BD49-87C1-A877-9D44919AF047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450C618-6889-62BD-2E1C-F7C6BC78F7C2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29DF646B-5D36-554C-CB93-0B7FC3876259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7D2F78B-7246-F0DB-5678-0856B3208655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5C9BB2FF-0B91-50A0-76E9-B8C841CED343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2E1071E9-2BB7-B3D1-3831-D4441A80C3B7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1BCD0C1A-5990-AF0E-6D5F-A7D89BCCC8BC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834069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Infere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8B32BA-EFC5-5C85-F229-C55FA0A18259}"/>
              </a:ext>
            </a:extLst>
          </p:cNvPr>
          <p:cNvSpPr txBox="1"/>
          <p:nvPr/>
        </p:nvSpPr>
        <p:spPr>
          <a:xfrm>
            <a:off x="291979" y="1239144"/>
            <a:ext cx="11552492" cy="5355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	 # Create the encoder input by concatenating the special tokens and the tokenized   	 source tex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s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typ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6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d_src_tex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typ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6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os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typ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6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padding_nu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typ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6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evice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encoder mask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evice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Encode the inpu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odel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n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he decoder input with the start of sequence token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[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s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])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ype_a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evice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F813E07-B683-B046-80D2-B8ED0D8636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68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5EB68F-9B82-D0D6-4934-45DF9987F2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AE752C46-E346-2A67-58BB-EC941F01ECE3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70C0B95-68A4-D470-CE09-B92A69B3C6A1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C2CD802-879D-7CF1-1E8B-4EC775115CCE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3A0E628-25C9-7130-58AB-A9EECCDC7CA4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A3B6606-DFC3-F28B-7AA2-8E9ED7BD5195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6D38A8E5-2299-307F-C06C-763D37A593F1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CCDD7BEC-C868-1900-5CA9-C27FAA5F166C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572067CB-FA5E-8AC0-14EE-8C69C6E59551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0C4332DA-3C85-2D78-79A6-D0481B758276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834069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Infere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3EF91B-D76D-7C07-33A3-30BC2E653F7E}"/>
              </a:ext>
            </a:extLst>
          </p:cNvPr>
          <p:cNvSpPr txBox="1"/>
          <p:nvPr/>
        </p:nvSpPr>
        <p:spPr>
          <a:xfrm>
            <a:off x="291979" y="1239144"/>
            <a:ext cx="11552492" cy="590931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	 # Loop until the sequence length is reached or the end of sequence token is 	 	 predicted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Break the loop if the sequence length is reached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brea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decoder mask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	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			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ype_a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			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evice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ecode the encoder outpu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odel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e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				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					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					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					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					    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AD04F47F-ACDE-F845-899F-252CB5B10C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7724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02176E-5D24-31B3-CA61-31D6DDC96C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5574A83F-58BC-6B12-DD61-EBD8CE366463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0A741D3-D118-8192-55E1-A7544D81C5B5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D2DD602-D772-5269-C124-D67DD8E46A5D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FE8F6AB-5D92-815B-72C3-3363DE021629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AA2E521-A1C2-D505-992E-765E6227A485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CD69861-E4D2-016C-51B7-8581173E23BE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F9524490-1208-8195-9AC6-74184C9C6044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581971DC-4A9A-297A-E540-C45C1D1A0113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C41B5520-2579-F28A-CCC3-89106F84F44A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834069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Infere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63A006A-71BB-6577-DA1E-BA21785FC786}"/>
              </a:ext>
            </a:extLst>
          </p:cNvPr>
          <p:cNvSpPr txBox="1"/>
          <p:nvPr/>
        </p:nvSpPr>
        <p:spPr>
          <a:xfrm>
            <a:off x="291979" y="1239144"/>
            <a:ext cx="11552492" cy="5355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	     # Select the last token from the sequence length dimension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st_token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: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roject the output to the target vocabulary size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jection_out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odel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rojec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st_token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Get the predicted token by finding the index of the maximum value in the 		     projection outpu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ojection_out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Update the decoder input by appending the predicted token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	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		 				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nsquee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ype_a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device)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		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m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Break the loop if the predicted token is the end of sequence token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redicted_tok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os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brea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FB8B6615-7D72-9C2E-78FF-452B903758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6624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9F8BE2-C3C9-D5E6-2B10-F329DB272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8B40A9E-8FF9-84C6-CBA9-9CF8B2257432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E4AAE58-6DD6-1BC2-C7DF-360010BBF2FB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FB99C66-8935-F24D-D3F0-43D5B1C2F5AE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7195165-3A9E-DDE5-68B0-77F1BF5CE57A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ngine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0A430E5-EED3-A52E-FB73-E8692BD14F7F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39ED909-9ED6-BF16-3C66-02CDF4F66B89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A931D45-7E84-659F-4C81-1B5CE18EAB86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7EF50B7B-5127-05A9-8C17-3D5E3EA9EA47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69273074-554B-A7FF-5301-15CFFDE6B18B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834069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Infere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B92D223-0564-4DCA-16DC-3F6507E1BE6C}"/>
              </a:ext>
            </a:extLst>
          </p:cNvPr>
          <p:cNvSpPr txBox="1"/>
          <p:nvPr/>
        </p:nvSpPr>
        <p:spPr>
          <a:xfrm>
            <a:off x="291979" y="1239144"/>
            <a:ext cx="11552492" cy="286232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Decode the decoder input to get the translated tex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nslated_tex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tgt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e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				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					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quee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				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ta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				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pu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				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umpy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</a:p>
          <a:p>
            <a:r>
              <a:rPr lang="en-US" dirty="0">
                <a:solidFill>
                  <a:srgbClr val="E1EFFF"/>
                </a:solidFill>
                <a:latin typeface="Consolas" panose="020B0609020204030204" pitchFamily="49" charset="0"/>
              </a:rPr>
              <a:t>				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nslated_tex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B9645D23-1CDA-B827-7F05-9142DFCFFE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648" y="88019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42420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E7736A-FC55-DA61-82CC-62EBD6C162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9549353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9C8D5-594D-D5B0-F077-5FA03B2745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BCAAA65-AD28-CC8B-6E6D-6B2BFD30CCFA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10306229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Inference – Machine transl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7AF41B-2546-1F3C-759E-A1C26E9B51B5}"/>
              </a:ext>
            </a:extLst>
          </p:cNvPr>
          <p:cNvSpPr/>
          <p:nvPr/>
        </p:nvSpPr>
        <p:spPr>
          <a:xfrm>
            <a:off x="234297" y="658811"/>
            <a:ext cx="11792860" cy="61317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75B39A-31D9-B5EC-6181-DD1BED08025F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650C5A-EC5F-B4A4-D63A-125A7F364C89}"/>
              </a:ext>
            </a:extLst>
          </p:cNvPr>
          <p:cNvSpPr/>
          <p:nvPr/>
        </p:nvSpPr>
        <p:spPr>
          <a:xfrm>
            <a:off x="1382312" y="658812"/>
            <a:ext cx="3728073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inference.ipynb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29A7DD4-426D-7CAE-A9CF-AE6D5360CA73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BCCB05D-DBE5-68F5-CA74-E18CF2ACB563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8016352-51FB-9FBD-489D-AF97B27BA209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6C051F2-F55A-33AF-9F0C-AF250212A48D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25A9802-1923-3225-6CDB-AC5EC36D431F}"/>
              </a:ext>
            </a:extLst>
          </p:cNvPr>
          <p:cNvSpPr txBox="1"/>
          <p:nvPr/>
        </p:nvSpPr>
        <p:spPr>
          <a:xfrm>
            <a:off x="295541" y="1158291"/>
            <a:ext cx="11053274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tranformer_model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checkpoint_pat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gin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ferenc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ssign the device for computation (GPU if available, else CPU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uda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uda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s_availab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pu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Using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device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# Get Config, dataset, tokenizer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/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onfig.js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sourc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targe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2" descr="Project Jupyter - Wikipedia">
            <a:extLst>
              <a:ext uri="{FF2B5EF4-FFF2-40B4-BE49-F238E27FC236}">
                <a16:creationId xmlns:a16="http://schemas.microsoft.com/office/drawing/2014/main" id="{29DA2CB8-831C-1DC5-79E6-ED68F2E645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124" y="693396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7711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36683-0503-02B1-177A-F477DF56D0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550FEC0-E13E-B5DB-C25B-32DE7E3AAD15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1033186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Inference – Machine transl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AC7692-3D70-C559-9282-6C6EE4426A1C}"/>
              </a:ext>
            </a:extLst>
          </p:cNvPr>
          <p:cNvSpPr/>
          <p:nvPr/>
        </p:nvSpPr>
        <p:spPr>
          <a:xfrm>
            <a:off x="234297" y="658811"/>
            <a:ext cx="11792860" cy="61317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901D692-8F95-44B2-ED21-4F5D32020B34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CAF7AB2-7DC7-DF80-7B0A-B5981CA35608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7BDCCBE-EFB5-0E8A-AEF7-8842062627E6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E74104D-08F8-AEA1-7834-3FD73AED4A4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0DCB31D-0FBF-1C91-F163-A3427AC9175A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7AB4E453-FA35-80D6-5E8A-25B87EE7A6BC}"/>
              </a:ext>
            </a:extLst>
          </p:cNvPr>
          <p:cNvSpPr txBox="1"/>
          <p:nvPr/>
        </p:nvSpPr>
        <p:spPr>
          <a:xfrm>
            <a:off x="295541" y="1158291"/>
            <a:ext cx="11053274" cy="480131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Transformer model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tranformer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Load latest checkpoin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_checkpoin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checkpoint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model_checkpoint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_checkpo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tate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_checkpo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ssign latest checkpoint to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transfrom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state_dic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model_state_dic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</a:p>
          <a:p>
            <a:endParaRPr lang="en-US" dirty="0">
              <a:solidFill>
                <a:srgbClr val="E1EFFF"/>
              </a:solidFill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ource text to translat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urce_tex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Market prices are shaped by the balance of supply and demand.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l the translation function over the trained model and the source text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nslated_tex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feren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urce_tex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            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vi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F5DA1B-D093-2C35-9DBA-16C8CEA5F6AE}"/>
              </a:ext>
            </a:extLst>
          </p:cNvPr>
          <p:cNvSpPr/>
          <p:nvPr/>
        </p:nvSpPr>
        <p:spPr>
          <a:xfrm>
            <a:off x="1382312" y="658812"/>
            <a:ext cx="3728073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inference.ipynb</a:t>
            </a:r>
            <a:endParaRPr lang="en-US" dirty="0"/>
          </a:p>
        </p:txBody>
      </p:sp>
      <p:pic>
        <p:nvPicPr>
          <p:cNvPr id="5" name="Picture 2" descr="Project Jupyter - Wikipedia">
            <a:extLst>
              <a:ext uri="{FF2B5EF4-FFF2-40B4-BE49-F238E27FC236}">
                <a16:creationId xmlns:a16="http://schemas.microsoft.com/office/drawing/2014/main" id="{BAE0C977-4207-3AA8-4C64-40E1A9D977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124" y="693396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121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9950559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9C7307-E57C-1221-7926-36B4D4B9FA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1DCAC27-AC48-5A7D-A482-9E472607C1BC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10393846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Inference – Machine transl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5A5A0BC-0A9A-49E8-68C1-96FB12CB908B}"/>
              </a:ext>
            </a:extLst>
          </p:cNvPr>
          <p:cNvSpPr/>
          <p:nvPr/>
        </p:nvSpPr>
        <p:spPr>
          <a:xfrm>
            <a:off x="234297" y="658811"/>
            <a:ext cx="11792860" cy="41353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CA3B30-BF0E-A08C-A6B0-70CD3AF863C3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969E7B8-5B9A-66D8-57C0-3832A4E4D450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A1600EB-A199-81AC-BC93-85FF65388E5B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5635C4D-275E-B26A-F4D5-44FBA9EBF2E1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B39082D-770A-920F-AE49-96DE8AA9407D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7216825-34F5-C490-F34A-9BF62FFBB02B}"/>
              </a:ext>
            </a:extLst>
          </p:cNvPr>
          <p:cNvSpPr txBox="1"/>
          <p:nvPr/>
        </p:nvSpPr>
        <p:spPr>
          <a:xfrm>
            <a:off x="295541" y="1158291"/>
            <a:ext cx="11053274" cy="120032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ource text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urce_tex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&gt;&gt;&gt;&gt;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ranslated text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nslated_tex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CAF847-6A73-CD77-7EC1-385362891D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541" y="2396625"/>
            <a:ext cx="8715375" cy="1323975"/>
          </a:xfrm>
          <a:prstGeom prst="rect">
            <a:avLst/>
          </a:prstGeom>
          <a:ln>
            <a:solidFill>
              <a:srgbClr val="00994D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0F65E05-17A4-79E4-7E37-DD40BBDFA716}"/>
              </a:ext>
            </a:extLst>
          </p:cNvPr>
          <p:cNvSpPr/>
          <p:nvPr/>
        </p:nvSpPr>
        <p:spPr>
          <a:xfrm>
            <a:off x="1382312" y="658812"/>
            <a:ext cx="3728073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inference.ipynb</a:t>
            </a:r>
            <a:endParaRPr lang="en-US" dirty="0"/>
          </a:p>
        </p:txBody>
      </p:sp>
      <p:pic>
        <p:nvPicPr>
          <p:cNvPr id="3" name="Picture 2" descr="Project Jupyter - Wikipedia">
            <a:extLst>
              <a:ext uri="{FF2B5EF4-FFF2-40B4-BE49-F238E27FC236}">
                <a16:creationId xmlns:a16="http://schemas.microsoft.com/office/drawing/2014/main" id="{44A99AD2-5E62-6F63-0D0A-9CD4AFA565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124" y="693396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0884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173D8-3F0D-8AAA-0FF0-E0ECB89124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5441746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B25277-0508-B770-D5BD-0219953BF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A7685A-D99C-C3F9-551E-97CF709D85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mplemented all building blocks of the Transformer.</a:t>
            </a:r>
          </a:p>
          <a:p>
            <a:r>
              <a:rPr lang="en-US" dirty="0"/>
              <a:t>Built the Transformer as a package.</a:t>
            </a:r>
          </a:p>
          <a:p>
            <a:r>
              <a:rPr lang="en-US" dirty="0"/>
              <a:t>Wrote a script to launch the training with several lines of code.</a:t>
            </a:r>
          </a:p>
          <a:p>
            <a:r>
              <a:rPr lang="en-US" dirty="0"/>
              <a:t>Tested the inference with the trained model for the use case of a machine translation task.</a:t>
            </a:r>
          </a:p>
          <a:p>
            <a:r>
              <a:rPr lang="en-US" dirty="0"/>
              <a:t>Provided a playground with notebooks for all functions and classes.</a:t>
            </a:r>
          </a:p>
        </p:txBody>
      </p:sp>
    </p:spTree>
    <p:extLst>
      <p:ext uri="{BB962C8B-B14F-4D97-AF65-F5344CB8AC3E}">
        <p14:creationId xmlns:p14="http://schemas.microsoft.com/office/powerpoint/2010/main" val="3082883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697A881-3A16-2943-2965-FF50E693A4AB}"/>
              </a:ext>
            </a:extLst>
          </p:cNvPr>
          <p:cNvSpPr txBox="1"/>
          <p:nvPr/>
        </p:nvSpPr>
        <p:spPr>
          <a:xfrm>
            <a:off x="1902864" y="3044280"/>
            <a:ext cx="83862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0070C0"/>
                </a:solidFill>
              </a:rPr>
              <a:t>Thank you for your watching!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720EEDD-D093-325C-133A-CF1CB9F915C1}"/>
              </a:ext>
            </a:extLst>
          </p:cNvPr>
          <p:cNvGrpSpPr/>
          <p:nvPr/>
        </p:nvGrpSpPr>
        <p:grpSpPr>
          <a:xfrm>
            <a:off x="4447443" y="4448908"/>
            <a:ext cx="3297115" cy="483577"/>
            <a:chOff x="4818184" y="4448908"/>
            <a:chExt cx="3297115" cy="483577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0E618431-D837-DC6A-6024-9B74C11B924F}"/>
                </a:ext>
              </a:extLst>
            </p:cNvPr>
            <p:cNvSpPr/>
            <p:nvPr/>
          </p:nvSpPr>
          <p:spPr>
            <a:xfrm>
              <a:off x="4818184" y="4448908"/>
              <a:ext cx="3297115" cy="483577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23D7F15E-B9C7-8AAA-9DE0-0D91208E77B0}"/>
                </a:ext>
              </a:extLst>
            </p:cNvPr>
            <p:cNvSpPr/>
            <p:nvPr/>
          </p:nvSpPr>
          <p:spPr>
            <a:xfrm>
              <a:off x="4967655" y="4528039"/>
              <a:ext cx="562708" cy="32531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388B6CB0-FE35-F805-50AE-920B9EA78C4F}"/>
                </a:ext>
              </a:extLst>
            </p:cNvPr>
            <p:cNvSpPr/>
            <p:nvPr/>
          </p:nvSpPr>
          <p:spPr>
            <a:xfrm rot="5400000">
              <a:off x="5171523" y="4622861"/>
              <a:ext cx="169744" cy="135671"/>
            </a:xfrm>
            <a:prstGeom prst="triangl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06E860-AD74-BD47-AE35-075874D52544}"/>
                </a:ext>
              </a:extLst>
            </p:cNvPr>
            <p:cNvSpPr txBox="1"/>
            <p:nvPr/>
          </p:nvSpPr>
          <p:spPr>
            <a:xfrm>
              <a:off x="5565531" y="4506030"/>
              <a:ext cx="253218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Subscribe, like, share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9108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D5A720-AF56-345F-974A-1D675F6566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75629-DD98-C97E-9160-8461A61BE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pl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3D47DE-BF9B-E2C8-945E-A5AD413190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Training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 Inferen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513108-5491-4A97-CACA-6540A0E4FF47}"/>
              </a:ext>
            </a:extLst>
          </p:cNvPr>
          <p:cNvSpPr txBox="1"/>
          <p:nvPr/>
        </p:nvSpPr>
        <p:spPr>
          <a:xfrm>
            <a:off x="7093197" y="5489672"/>
            <a:ext cx="2332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anslated sentence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67E9BDF-B37B-CC2D-4786-1CBBA5F7548A}"/>
              </a:ext>
            </a:extLst>
          </p:cNvPr>
          <p:cNvCxnSpPr>
            <a:cxnSpLocks/>
          </p:cNvCxnSpPr>
          <p:nvPr/>
        </p:nvCxnSpPr>
        <p:spPr>
          <a:xfrm>
            <a:off x="3110669" y="5856675"/>
            <a:ext cx="177646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C8093EB-A1A2-F206-9E57-7EB11FC45D22}"/>
              </a:ext>
            </a:extLst>
          </p:cNvPr>
          <p:cNvCxnSpPr>
            <a:cxnSpLocks/>
          </p:cNvCxnSpPr>
          <p:nvPr/>
        </p:nvCxnSpPr>
        <p:spPr>
          <a:xfrm>
            <a:off x="7104034" y="5860506"/>
            <a:ext cx="215960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7CBBE30A-D027-3325-1CC0-4B41145759DD}"/>
              </a:ext>
            </a:extLst>
          </p:cNvPr>
          <p:cNvSpPr txBox="1"/>
          <p:nvPr/>
        </p:nvSpPr>
        <p:spPr>
          <a:xfrm>
            <a:off x="2837205" y="5487343"/>
            <a:ext cx="1913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 sentence</a:t>
            </a:r>
            <a:endParaRPr lang="en-US" b="1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9D7663D2-FD90-0CB9-A42B-633CD27CFA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8379" y="5476786"/>
            <a:ext cx="521219" cy="274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France flag">
            <a:extLst>
              <a:ext uri="{FF2B5EF4-FFF2-40B4-BE49-F238E27FC236}">
                <a16:creationId xmlns:a16="http://schemas.microsoft.com/office/drawing/2014/main" id="{5E9E7C89-5072-3939-E5D0-1EC21CDA66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45" b="17500"/>
          <a:stretch/>
        </p:blipFill>
        <p:spPr bwMode="auto">
          <a:xfrm>
            <a:off x="9426011" y="5417155"/>
            <a:ext cx="509310" cy="333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5CC51D3-120E-6803-EE23-EFC71FFA8BC1}"/>
              </a:ext>
            </a:extLst>
          </p:cNvPr>
          <p:cNvSpPr/>
          <p:nvPr/>
        </p:nvSpPr>
        <p:spPr>
          <a:xfrm>
            <a:off x="4872518" y="5334315"/>
            <a:ext cx="2231516" cy="1044719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ined model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pic>
        <p:nvPicPr>
          <p:cNvPr id="28" name="Picture 2">
            <a:extLst>
              <a:ext uri="{FF2B5EF4-FFF2-40B4-BE49-F238E27FC236}">
                <a16:creationId xmlns:a16="http://schemas.microsoft.com/office/drawing/2014/main" id="{D216F097-0EF0-961A-76A1-59DE15152E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126" y="5672009"/>
            <a:ext cx="7715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0A4A7F3-0A2E-7BDE-003A-8A7522DA1A0F}"/>
              </a:ext>
            </a:extLst>
          </p:cNvPr>
          <p:cNvSpPr txBox="1"/>
          <p:nvPr/>
        </p:nvSpPr>
        <p:spPr>
          <a:xfrm>
            <a:off x="2837205" y="2694659"/>
            <a:ext cx="2064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 sentences</a:t>
            </a:r>
            <a:endParaRPr lang="en-US" b="1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152437B-B082-32B3-C51C-96F1E52691F7}"/>
              </a:ext>
            </a:extLst>
          </p:cNvPr>
          <p:cNvCxnSpPr>
            <a:cxnSpLocks/>
          </p:cNvCxnSpPr>
          <p:nvPr/>
        </p:nvCxnSpPr>
        <p:spPr>
          <a:xfrm flipV="1">
            <a:off x="2961999" y="3063078"/>
            <a:ext cx="1925130" cy="91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0697A02C-D908-2341-B94B-128E6B857895}"/>
              </a:ext>
            </a:extLst>
          </p:cNvPr>
          <p:cNvSpPr/>
          <p:nvPr/>
        </p:nvSpPr>
        <p:spPr>
          <a:xfrm>
            <a:off x="4887131" y="2814526"/>
            <a:ext cx="2231516" cy="1044719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ining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0977D83-B1EF-CA42-4ED4-C5DAF05F3060}"/>
              </a:ext>
            </a:extLst>
          </p:cNvPr>
          <p:cNvCxnSpPr>
            <a:cxnSpLocks/>
          </p:cNvCxnSpPr>
          <p:nvPr/>
        </p:nvCxnSpPr>
        <p:spPr>
          <a:xfrm>
            <a:off x="2961999" y="3609676"/>
            <a:ext cx="191051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1C22429E-8288-B828-8678-C32FF8FE707D}"/>
              </a:ext>
            </a:extLst>
          </p:cNvPr>
          <p:cNvSpPr txBox="1"/>
          <p:nvPr/>
        </p:nvSpPr>
        <p:spPr>
          <a:xfrm>
            <a:off x="2837205" y="3614239"/>
            <a:ext cx="2049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rget sentences</a:t>
            </a:r>
            <a:endParaRPr lang="en-US" b="1" dirty="0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2C9570B-9948-2F29-2488-1A80BE464050}"/>
              </a:ext>
            </a:extLst>
          </p:cNvPr>
          <p:cNvCxnSpPr>
            <a:cxnSpLocks/>
          </p:cNvCxnSpPr>
          <p:nvPr/>
        </p:nvCxnSpPr>
        <p:spPr>
          <a:xfrm>
            <a:off x="7118647" y="3336885"/>
            <a:ext cx="165788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0A228FAB-262C-405E-630C-B6FFEC562F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8947" y="2720665"/>
            <a:ext cx="521219" cy="274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France flag">
            <a:extLst>
              <a:ext uri="{FF2B5EF4-FFF2-40B4-BE49-F238E27FC236}">
                <a16:creationId xmlns:a16="http://schemas.microsoft.com/office/drawing/2014/main" id="{2D7A4DB6-AA6F-BBB1-52EB-BF60D4546D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45" b="17500"/>
          <a:stretch/>
        </p:blipFill>
        <p:spPr bwMode="auto">
          <a:xfrm>
            <a:off x="2124334" y="3609676"/>
            <a:ext cx="509310" cy="333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9CDB252-23E1-5046-6C8A-302937DC9D8F}"/>
              </a:ext>
            </a:extLst>
          </p:cNvPr>
          <p:cNvSpPr txBox="1"/>
          <p:nvPr/>
        </p:nvSpPr>
        <p:spPr>
          <a:xfrm>
            <a:off x="7118647" y="2950148"/>
            <a:ext cx="17881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ained model</a:t>
            </a:r>
            <a:endParaRPr lang="en-US" b="1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CFA289F-74A2-9ADE-616A-98551126F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1826" y="3319480"/>
            <a:ext cx="7715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217EEF37-9225-516D-FE04-65E722A05C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3878" y="3485345"/>
            <a:ext cx="447675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4653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/>
      <p:bldP spid="13" grpId="0" animBg="1"/>
      <p:bldP spid="6" grpId="0"/>
      <p:bldP spid="11" grpId="0" animBg="1"/>
      <p:bldP spid="22" grpId="0"/>
      <p:bldP spid="1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7683E2-BF8B-DAC4-DE08-258ECC7436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C341B4-B392-567A-B076-CE636588AC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's formula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03F4EA-7F45-9800-AFA5-C932C14222A8}"/>
              </a:ext>
            </a:extLst>
          </p:cNvPr>
          <p:cNvSpPr txBox="1"/>
          <p:nvPr/>
        </p:nvSpPr>
        <p:spPr>
          <a:xfrm>
            <a:off x="404399" y="1768869"/>
            <a:ext cx="3637984" cy="44012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Source code</a:t>
            </a:r>
          </a:p>
          <a:p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Coding step-by-step </a:t>
            </a:r>
          </a:p>
          <a:p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Notebook</a:t>
            </a:r>
          </a:p>
          <a:p>
            <a:r>
              <a:rPr lang="en-US" sz="2800" dirty="0"/>
              <a:t> </a:t>
            </a:r>
          </a:p>
          <a:p>
            <a:endParaRPr lang="en-US" sz="2800" dirty="0"/>
          </a:p>
          <a:p>
            <a:r>
              <a:rPr lang="en-US" sz="2800" dirty="0"/>
              <a:t>Example resul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3AA3F9-3E8B-4F0D-1DC9-5CC376CFA835}"/>
              </a:ext>
            </a:extLst>
          </p:cNvPr>
          <p:cNvSpPr txBox="1"/>
          <p:nvPr/>
        </p:nvSpPr>
        <p:spPr>
          <a:xfrm>
            <a:off x="7876019" y="3276973"/>
            <a:ext cx="42270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007FFF"/>
                </a:solidFill>
              </a:rPr>
              <a:t>A good understanding of implement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EAB799-6116-22CA-4BA9-A1C9B181367A}"/>
              </a:ext>
            </a:extLst>
          </p:cNvPr>
          <p:cNvSpPr txBox="1"/>
          <p:nvPr/>
        </p:nvSpPr>
        <p:spPr>
          <a:xfrm>
            <a:off x="1811265" y="2430496"/>
            <a:ext cx="4235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+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82CB08-F12F-2F84-09A3-4EB83B3697A9}"/>
              </a:ext>
            </a:extLst>
          </p:cNvPr>
          <p:cNvSpPr txBox="1"/>
          <p:nvPr/>
        </p:nvSpPr>
        <p:spPr>
          <a:xfrm>
            <a:off x="1811265" y="3694751"/>
            <a:ext cx="4235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+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A7D0B5-323A-E69B-A020-D220EBD1CFFE}"/>
              </a:ext>
            </a:extLst>
          </p:cNvPr>
          <p:cNvSpPr txBox="1"/>
          <p:nvPr/>
        </p:nvSpPr>
        <p:spPr>
          <a:xfrm>
            <a:off x="9752735" y="2488153"/>
            <a:ext cx="4235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dirty="0"/>
              <a:t>=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C734B7-A066-A30F-8A4D-3419B968E678}"/>
              </a:ext>
            </a:extLst>
          </p:cNvPr>
          <p:cNvSpPr txBox="1"/>
          <p:nvPr/>
        </p:nvSpPr>
        <p:spPr>
          <a:xfrm>
            <a:off x="1811265" y="4957779"/>
            <a:ext cx="4235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+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262515-1A8F-5438-A908-88071000108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4333"/>
          <a:stretch/>
        </p:blipFill>
        <p:spPr>
          <a:xfrm>
            <a:off x="4740971" y="1537052"/>
            <a:ext cx="1257300" cy="13255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C7DE294-A99B-4A40-54F1-C788D7ECC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0971" y="3182883"/>
            <a:ext cx="2743200" cy="61912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A833A34-7CE7-8D49-56FA-BC6AB5021F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40971" y="4354810"/>
            <a:ext cx="1819275" cy="104775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F017F7D-EF48-914A-04E6-182251CB896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1570"/>
          <a:stretch/>
        </p:blipFill>
        <p:spPr>
          <a:xfrm>
            <a:off x="4740971" y="5656541"/>
            <a:ext cx="4633362" cy="118342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9693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7" grpId="0"/>
      <p:bldP spid="8" grpId="0"/>
      <p:bldP spid="10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57780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76CF1-B9E7-1D82-90D8-5FEB23F6F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42EB63-9A71-27E9-0F28-F3E10664C428}"/>
              </a:ext>
            </a:extLst>
          </p:cNvPr>
          <p:cNvGrpSpPr/>
          <p:nvPr/>
        </p:nvGrpSpPr>
        <p:grpSpPr>
          <a:xfrm>
            <a:off x="2704748" y="2735590"/>
            <a:ext cx="6782504" cy="1386821"/>
            <a:chOff x="2124334" y="2694659"/>
            <a:chExt cx="6782504" cy="1386821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31DFD16-D75F-D5E2-DBC9-6845DC2E20BC}"/>
                </a:ext>
              </a:extLst>
            </p:cNvPr>
            <p:cNvSpPr txBox="1"/>
            <p:nvPr/>
          </p:nvSpPr>
          <p:spPr>
            <a:xfrm>
              <a:off x="2837205" y="2694659"/>
              <a:ext cx="206453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Source sentences</a:t>
              </a:r>
              <a:endParaRPr lang="en-US" b="1" dirty="0"/>
            </a:p>
          </p:txBody>
        </p: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1191F9E4-3BCF-BC66-397D-673C1981C2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61999" y="3063078"/>
              <a:ext cx="1925130" cy="91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F3CEB76-B988-5EA1-9605-CB4D72CF5268}"/>
                </a:ext>
              </a:extLst>
            </p:cNvPr>
            <p:cNvSpPr/>
            <p:nvPr/>
          </p:nvSpPr>
          <p:spPr>
            <a:xfrm>
              <a:off x="4887131" y="2814526"/>
              <a:ext cx="2231516" cy="1044719"/>
            </a:xfrm>
            <a:prstGeom prst="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raining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0E440A70-5225-A543-6344-E886D0697BC1}"/>
                </a:ext>
              </a:extLst>
            </p:cNvPr>
            <p:cNvCxnSpPr>
              <a:cxnSpLocks/>
            </p:cNvCxnSpPr>
            <p:nvPr/>
          </p:nvCxnSpPr>
          <p:spPr>
            <a:xfrm>
              <a:off x="2961999" y="3609676"/>
              <a:ext cx="191051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509416E-5600-63C7-3EAE-6A042A6FEC1A}"/>
                </a:ext>
              </a:extLst>
            </p:cNvPr>
            <p:cNvSpPr txBox="1"/>
            <p:nvPr/>
          </p:nvSpPr>
          <p:spPr>
            <a:xfrm>
              <a:off x="2837205" y="3614239"/>
              <a:ext cx="20499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Target sentences</a:t>
              </a:r>
              <a:endParaRPr lang="en-US" b="1" dirty="0"/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39E7064A-7CA6-BAFE-A33F-DA1949FAC61C}"/>
                </a:ext>
              </a:extLst>
            </p:cNvPr>
            <p:cNvCxnSpPr>
              <a:cxnSpLocks/>
            </p:cNvCxnSpPr>
            <p:nvPr/>
          </p:nvCxnSpPr>
          <p:spPr>
            <a:xfrm>
              <a:off x="7118647" y="3336885"/>
              <a:ext cx="165788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Picture 2">
              <a:extLst>
                <a:ext uri="{FF2B5EF4-FFF2-40B4-BE49-F238E27FC236}">
                  <a16:creationId xmlns:a16="http://schemas.microsoft.com/office/drawing/2014/main" id="{5A04ED4A-57A8-FEFA-4E98-7D64E6484D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8947" y="2720665"/>
              <a:ext cx="521219" cy="2742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France flag">
              <a:extLst>
                <a:ext uri="{FF2B5EF4-FFF2-40B4-BE49-F238E27FC236}">
                  <a16:creationId xmlns:a16="http://schemas.microsoft.com/office/drawing/2014/main" id="{2E43A94C-8539-5320-1FE2-A9DFF43C4E9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945" b="17500"/>
            <a:stretch/>
          </p:blipFill>
          <p:spPr bwMode="auto">
            <a:xfrm>
              <a:off x="2124334" y="3609676"/>
              <a:ext cx="509310" cy="3338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3D6C809-FEDE-2F8C-6708-3B0EA5FE6DEC}"/>
                </a:ext>
              </a:extLst>
            </p:cNvPr>
            <p:cNvSpPr txBox="1"/>
            <p:nvPr/>
          </p:nvSpPr>
          <p:spPr>
            <a:xfrm>
              <a:off x="7118647" y="2950148"/>
              <a:ext cx="178819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Trained model</a:t>
              </a:r>
              <a:endParaRPr lang="en-US" b="1" dirty="0"/>
            </a:p>
          </p:txBody>
        </p:sp>
        <p:pic>
          <p:nvPicPr>
            <p:cNvPr id="25" name="Picture 2">
              <a:extLst>
                <a:ext uri="{FF2B5EF4-FFF2-40B4-BE49-F238E27FC236}">
                  <a16:creationId xmlns:a16="http://schemas.microsoft.com/office/drawing/2014/main" id="{D15189D1-700E-0334-99C9-584BD68429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61826" y="3319480"/>
              <a:ext cx="771525" cy="76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4">
              <a:extLst>
                <a:ext uri="{FF2B5EF4-FFF2-40B4-BE49-F238E27FC236}">
                  <a16:creationId xmlns:a16="http://schemas.microsoft.com/office/drawing/2014/main" id="{0E63921E-57C5-C942-03CF-9D4BAE27D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3878" y="3485345"/>
              <a:ext cx="447675" cy="4476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94143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2CA8E2-4724-5739-20E0-CB478DDA9D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08081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66C4094F-300E-0903-B238-C87944D45F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028"/>
          <a:stretch/>
        </p:blipFill>
        <p:spPr bwMode="auto">
          <a:xfrm>
            <a:off x="7421147" y="2143114"/>
            <a:ext cx="3764089" cy="3255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F7FCA8-E833-1F6E-3D35-F8D12CC3DB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step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F43847-A354-85B0-5EB4-5595D43440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</a:t>
            </a:r>
            <a:r>
              <a:rPr lang="en-US" b="1" dirty="0"/>
              <a:t>Loading configuration</a:t>
            </a:r>
          </a:p>
          <a:p>
            <a:pPr marL="0" indent="0">
              <a:buNone/>
            </a:pP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FCCDB9D-E897-6B4C-7D11-2F6D9F2DFDB6}"/>
              </a:ext>
            </a:extLst>
          </p:cNvPr>
          <p:cNvCxnSpPr>
            <a:cxnSpLocks/>
          </p:cNvCxnSpPr>
          <p:nvPr/>
        </p:nvCxnSpPr>
        <p:spPr>
          <a:xfrm>
            <a:off x="8735627" y="4350058"/>
            <a:ext cx="124915" cy="687887"/>
          </a:xfrm>
          <a:prstGeom prst="line">
            <a:avLst/>
          </a:prstGeom>
          <a:ln w="9525">
            <a:solidFill>
              <a:srgbClr val="00206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BABD03D3-CA75-59CD-FA2F-0A8CC1CD83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2055"/>
          <a:stretch/>
        </p:blipFill>
        <p:spPr>
          <a:xfrm>
            <a:off x="5644623" y="5037945"/>
            <a:ext cx="3215919" cy="165112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5C300C-40AB-54F3-326A-97429BEA614C}"/>
              </a:ext>
            </a:extLst>
          </p:cNvPr>
          <p:cNvCxnSpPr>
            <a:cxnSpLocks/>
          </p:cNvCxnSpPr>
          <p:nvPr/>
        </p:nvCxnSpPr>
        <p:spPr>
          <a:xfrm flipH="1">
            <a:off x="5642137" y="4350058"/>
            <a:ext cx="2108069" cy="687887"/>
          </a:xfrm>
          <a:prstGeom prst="line">
            <a:avLst/>
          </a:prstGeom>
          <a:ln w="9525">
            <a:solidFill>
              <a:srgbClr val="00206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92C1D070-2FEB-409B-1247-BA27E3FB21B2}"/>
              </a:ext>
            </a:extLst>
          </p:cNvPr>
          <p:cNvSpPr/>
          <p:nvPr/>
        </p:nvSpPr>
        <p:spPr>
          <a:xfrm>
            <a:off x="9001957" y="2796466"/>
            <a:ext cx="1970843" cy="2241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190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AD6F0D-07AD-3A2C-BA17-F0F3B2175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971DF-6705-CC35-9ECC-838C24D6A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step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226CB2-84D2-3834-96B5-7C25A3881A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</a:t>
            </a:r>
            <a:r>
              <a:rPr lang="en-US" b="1" dirty="0"/>
              <a:t>Loading configuration</a:t>
            </a:r>
          </a:p>
          <a:p>
            <a:r>
              <a:rPr lang="en-US" b="1" dirty="0"/>
              <a:t> Training engine</a:t>
            </a:r>
          </a:p>
          <a:p>
            <a:pPr lvl="1"/>
            <a:r>
              <a:rPr lang="en-US" dirty="0"/>
              <a:t>Pre-processing data</a:t>
            </a:r>
          </a:p>
          <a:p>
            <a:pPr lvl="1"/>
            <a:r>
              <a:rPr lang="en-US" dirty="0"/>
              <a:t>Create and initiate transformer model</a:t>
            </a:r>
          </a:p>
          <a:p>
            <a:pPr lvl="1"/>
            <a:r>
              <a:rPr lang="en-US" dirty="0"/>
              <a:t>Training loop</a:t>
            </a:r>
          </a:p>
          <a:p>
            <a:pPr lvl="1"/>
            <a:endParaRPr lang="en-US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047A1966-0AFF-3D3A-AA94-ACCBF83C6A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028"/>
          <a:stretch/>
        </p:blipFill>
        <p:spPr bwMode="auto">
          <a:xfrm>
            <a:off x="7421147" y="2143114"/>
            <a:ext cx="3764089" cy="3255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8739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FD930-A06E-1E36-AB0A-B4492BA5D6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33D78-A680-C23F-D038-BB1984072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processing data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3B4B4C0-4D51-258A-7602-653765607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7493" y="2095500"/>
            <a:ext cx="9417014" cy="3255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0101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58734-92B0-10D9-3861-E337AAA42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will obta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C676A1-B621-6291-0B0F-07CC4EC22A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Build a </a:t>
            </a:r>
            <a:r>
              <a:rPr lang="en-US" b="1" i="1" dirty="0"/>
              <a:t>transformer</a:t>
            </a:r>
            <a:r>
              <a:rPr lang="en-US" dirty="0"/>
              <a:t> package</a:t>
            </a:r>
          </a:p>
          <a:p>
            <a:r>
              <a:rPr lang="en-US" dirty="0"/>
              <a:t> Write </a:t>
            </a:r>
            <a:r>
              <a:rPr lang="en-US" b="1" i="1" dirty="0"/>
              <a:t>train</a:t>
            </a:r>
            <a:r>
              <a:rPr lang="en-US" dirty="0"/>
              <a:t> and </a:t>
            </a:r>
            <a:r>
              <a:rPr lang="en-US" b="1" i="1" dirty="0"/>
              <a:t>inference</a:t>
            </a:r>
            <a:r>
              <a:rPr lang="en-US" dirty="0"/>
              <a:t> scripts</a:t>
            </a:r>
          </a:p>
          <a:p>
            <a:r>
              <a:rPr lang="en-US" dirty="0"/>
              <a:t> Experimentation with </a:t>
            </a:r>
            <a:r>
              <a:rPr lang="en-US" b="1" dirty="0"/>
              <a:t>noteboo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C96AE0-5277-BA91-8017-FB4C42AD29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2074" y="909605"/>
            <a:ext cx="1834450" cy="32664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9641C3-11A6-0231-2CD9-F0CC29FCFD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2196" y="908973"/>
            <a:ext cx="3190875" cy="3267075"/>
          </a:xfrm>
          <a:prstGeom prst="rect">
            <a:avLst/>
          </a:prstGeom>
        </p:spPr>
      </p:pic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1139E379-E1DA-441B-6593-BA88CD8E8E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2074" y="4380145"/>
            <a:ext cx="4298535" cy="2313334"/>
          </a:xfrm>
          <a:prstGeom prst="rect">
            <a:avLst/>
          </a:prstGeom>
        </p:spPr>
      </p:pic>
      <p:sp>
        <p:nvSpPr>
          <p:cNvPr id="7" name="Arrow: Curved Right 6">
            <a:extLst>
              <a:ext uri="{FF2B5EF4-FFF2-40B4-BE49-F238E27FC236}">
                <a16:creationId xmlns:a16="http://schemas.microsoft.com/office/drawing/2014/main" id="{E5757310-9F33-1C58-036C-8FA17113A0E6}"/>
              </a:ext>
            </a:extLst>
          </p:cNvPr>
          <p:cNvSpPr/>
          <p:nvPr/>
        </p:nvSpPr>
        <p:spPr>
          <a:xfrm rot="10800000" flipH="1">
            <a:off x="5745917" y="3555542"/>
            <a:ext cx="777988" cy="1486968"/>
          </a:xfrm>
          <a:prstGeom prst="curvedRight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449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E8144F-2125-CD86-C988-48E1C5812E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B46407-124C-E376-2C6D-CE4DE21C1A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transformer model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4D0BA9FF-1FBD-C4EA-85E4-CEE099FCAE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7493" y="2095500"/>
            <a:ext cx="9417014" cy="3255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10567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C15E1D-932B-FBDD-FE45-27C477D1BC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9CE96-756F-F6B7-E2A9-0F5DB2151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loop</a:t>
            </a:r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6F20AEB0-A0DF-8029-2108-4F34A434B6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7493" y="2095500"/>
            <a:ext cx="9417014" cy="3255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9515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05179D-7660-07CE-7E2C-273BCBC16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B39FDF-AC3B-63DC-B269-2A87CE284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t it all together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31B4EF78-37C9-874D-A42E-0416A53053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7493" y="2095500"/>
            <a:ext cx="9417014" cy="3255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77234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C4F39C-0677-EA7A-3CB0-73C826AA55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91302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DAA83CFD-FAB4-17B7-519E-DCCE8D56EE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850" y="1697164"/>
            <a:ext cx="7544301" cy="487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6F2EA90-F27A-223F-91F3-8F860881FF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 code structure</a:t>
            </a:r>
          </a:p>
        </p:txBody>
      </p:sp>
    </p:spTree>
    <p:extLst>
      <p:ext uri="{BB962C8B-B14F-4D97-AF65-F5344CB8AC3E}">
        <p14:creationId xmlns:p14="http://schemas.microsoft.com/office/powerpoint/2010/main" val="2313347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658B6A-F9F3-7A75-EE9F-946591C0B3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2233E-5564-78E7-F420-DE175511A2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classe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2BDD448-C662-E2E9-2CEA-BF1E86F2EA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849" y="1690688"/>
            <a:ext cx="7544301" cy="487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573557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F46356-7183-EBD8-36BF-A3DE9902AE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5E34E1-EFFE-1B19-9FDD-54A7B9F34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classe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52E3406-36CF-37A8-0286-7C1F546CAB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849" y="1690688"/>
            <a:ext cx="7544301" cy="487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04984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0D8AED-608B-B5CC-EBA7-49BE2BC29C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A768E-9FF7-343F-01FA-DD976DFD7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classe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BB3E7EAE-11F4-612A-C07E-73EDBE0038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849" y="1690688"/>
            <a:ext cx="7544301" cy="487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74122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78AB08-F828-7D5E-AEFF-9A78FF47F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4E37A-5699-7190-AED1-DD12F445C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functions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4FA1651D-7DEA-2EB0-742D-16AE88B3DE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849" y="1690688"/>
            <a:ext cx="7544301" cy="487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381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BBEF0D-610B-275B-D289-C4681ABC4B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6FAAAD-DBC2-AC36-6A4B-FDE7791B2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functions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D032083A-9EC7-2FD2-379D-D8F42CC3A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849" y="1690688"/>
            <a:ext cx="7544301" cy="487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34045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45847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0BAAFF-BC74-B76A-9B78-8813D21521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DEABE5-DA88-06C2-A50C-57893ABE2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functions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24F57B36-A78F-402D-9086-11F2C0B692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849" y="1690688"/>
            <a:ext cx="7544301" cy="487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994538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47C30B-33BB-5A84-522A-DB7AC2106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8E0242-5D8D-F460-6D0A-312392652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functions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D8EAC0C5-ACE3-0691-9DF4-11F3715235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825031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B59BC1-52B1-9B60-6DF1-C06583580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75356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0666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85F24C-5443-D8BE-E51C-563D7E62D9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DD96D-AEEB-2F7F-4C71-F0E18AEA3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aration function/class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BE9A687C-3A91-683A-50BD-6A9CD4A268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346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537146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ED4CA5-B98B-109A-6A4A-25A8686FD9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CB9D94-7D3B-77E8-6BE3-2BB483E04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aration function/class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99DC0136-4248-0408-C3A5-59292B9169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C8CAAC0F-6139-74D2-57BC-E651706CA58A}"/>
              </a:ext>
            </a:extLst>
          </p:cNvPr>
          <p:cNvSpPr/>
          <p:nvPr/>
        </p:nvSpPr>
        <p:spPr>
          <a:xfrm>
            <a:off x="9460727" y="3110255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511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8B9BDF-B428-FF66-02C1-9CF1F3D83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87CBFD8-C4B7-F7BF-89D0-898BC685C8E8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5075853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tils – Load confi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807DF0-DBD7-58A7-4ED2-F31D2A829CCF}"/>
              </a:ext>
            </a:extLst>
          </p:cNvPr>
          <p:cNvSpPr/>
          <p:nvPr/>
        </p:nvSpPr>
        <p:spPr>
          <a:xfrm>
            <a:off x="1406084" y="1469702"/>
            <a:ext cx="9379834" cy="396245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09EEE9-783C-32BC-6C8F-20997A2269C2}"/>
              </a:ext>
            </a:extLst>
          </p:cNvPr>
          <p:cNvSpPr/>
          <p:nvPr/>
        </p:nvSpPr>
        <p:spPr>
          <a:xfrm>
            <a:off x="1406083" y="1469702"/>
            <a:ext cx="937983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465AAA2-B4F1-92A8-764E-7E8F2607F393}"/>
              </a:ext>
            </a:extLst>
          </p:cNvPr>
          <p:cNvSpPr/>
          <p:nvPr/>
        </p:nvSpPr>
        <p:spPr>
          <a:xfrm>
            <a:off x="2539852" y="1469701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tils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E1EA3B8-0285-C87D-AD43-F7F24255728F}"/>
              </a:ext>
            </a:extLst>
          </p:cNvPr>
          <p:cNvGrpSpPr/>
          <p:nvPr/>
        </p:nvGrpSpPr>
        <p:grpSpPr>
          <a:xfrm>
            <a:off x="1623306" y="1623530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3442F2D-F511-C8E5-5789-B8BC8A33AD66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4519075-BED8-26A6-A553-3C06310FF000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AAB25C5-F60B-CBCC-E726-B8DD2FE1382F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CB1DFFC-B532-9773-F4B5-754E0FC2856B}"/>
              </a:ext>
            </a:extLst>
          </p:cNvPr>
          <p:cNvSpPr txBox="1"/>
          <p:nvPr/>
        </p:nvSpPr>
        <p:spPr>
          <a:xfrm>
            <a:off x="1453081" y="2015835"/>
            <a:ext cx="9332837" cy="341632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jso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9D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Open the file in read mod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op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r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Load the JSON content of the file into a Python dictionary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config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jso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Return the configuration data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onfig</a:t>
            </a:r>
          </a:p>
        </p:txBody>
      </p:sp>
      <p:pic>
        <p:nvPicPr>
          <p:cNvPr id="16390" name="Picture 6" descr="Python (programming language) - Wikipedia">
            <a:extLst>
              <a:ext uri="{FF2B5EF4-FFF2-40B4-BE49-F238E27FC236}">
                <a16:creationId xmlns:a16="http://schemas.microsoft.com/office/drawing/2014/main" id="{CFB5725A-13DE-D3E1-81E0-07E723B8BE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1525" y="1555372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28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9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1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2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5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43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61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87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FECF8E-8F39-040C-E127-F5D202354B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E5C35D2-6C63-1827-5110-81518C5EB6B9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494521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– Load confi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4177D60-C83F-2C62-704F-86C3EFA50120}"/>
              </a:ext>
            </a:extLst>
          </p:cNvPr>
          <p:cNvSpPr/>
          <p:nvPr/>
        </p:nvSpPr>
        <p:spPr>
          <a:xfrm>
            <a:off x="425719" y="981309"/>
            <a:ext cx="6936134" cy="37157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CCCED1-5FF6-5186-2D09-09EC45276C4E}"/>
              </a:ext>
            </a:extLst>
          </p:cNvPr>
          <p:cNvSpPr/>
          <p:nvPr/>
        </p:nvSpPr>
        <p:spPr>
          <a:xfrm>
            <a:off x="425719" y="981309"/>
            <a:ext cx="6936134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F6F24A-C0AC-F3B7-B99B-F422AB00F31B}"/>
              </a:ext>
            </a:extLst>
          </p:cNvPr>
          <p:cNvSpPr/>
          <p:nvPr/>
        </p:nvSpPr>
        <p:spPr>
          <a:xfrm>
            <a:off x="1573733" y="981309"/>
            <a:ext cx="341712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load_config.ipynb</a:t>
            </a:r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FE8391C-9970-E095-A47B-8A18C6257979}"/>
              </a:ext>
            </a:extLst>
          </p:cNvPr>
          <p:cNvGrpSpPr/>
          <p:nvPr/>
        </p:nvGrpSpPr>
        <p:grpSpPr>
          <a:xfrm>
            <a:off x="657187" y="1165445"/>
            <a:ext cx="653739" cy="170917"/>
            <a:chOff x="6937649" y="914403"/>
            <a:chExt cx="653739" cy="170917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855CDAE-2030-D44C-E5A9-0B642DAFADFC}"/>
                </a:ext>
              </a:extLst>
            </p:cNvPr>
            <p:cNvSpPr/>
            <p:nvPr/>
          </p:nvSpPr>
          <p:spPr>
            <a:xfrm>
              <a:off x="6937649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37909159-58E5-5D3C-2001-F5F6907A9726}"/>
                </a:ext>
              </a:extLst>
            </p:cNvPr>
            <p:cNvSpPr/>
            <p:nvPr/>
          </p:nvSpPr>
          <p:spPr>
            <a:xfrm>
              <a:off x="7202564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48A194E-E341-BCF9-FCB1-6E51530D788D}"/>
                </a:ext>
              </a:extLst>
            </p:cNvPr>
            <p:cNvSpPr/>
            <p:nvPr/>
          </p:nvSpPr>
          <p:spPr>
            <a:xfrm>
              <a:off x="7429018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B1BD109D-B006-9965-C2A8-0F01C471075B}"/>
              </a:ext>
            </a:extLst>
          </p:cNvPr>
          <p:cNvSpPr txBox="1"/>
          <p:nvPr/>
        </p:nvSpPr>
        <p:spPr>
          <a:xfrm>
            <a:off x="486963" y="1557750"/>
            <a:ext cx="6874890" cy="313932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onfig.js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E1E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ource language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sourc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arget language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targe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Batch size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pochs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poch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758EAD6-568F-A508-CCCD-5C88632DA4F2}"/>
              </a:ext>
            </a:extLst>
          </p:cNvPr>
          <p:cNvSpPr txBox="1"/>
          <p:nvPr/>
        </p:nvSpPr>
        <p:spPr>
          <a:xfrm>
            <a:off x="8579518" y="981309"/>
            <a:ext cx="1768433" cy="3693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FF00"/>
                </a:solidFill>
              </a:rPr>
              <a:t>{…}</a:t>
            </a:r>
            <a:r>
              <a:rPr lang="en-US" dirty="0"/>
              <a:t> </a:t>
            </a:r>
            <a:r>
              <a:rPr lang="en-US" dirty="0" err="1">
                <a:solidFill>
                  <a:schemeClr val="bg1"/>
                </a:solidFill>
              </a:rPr>
              <a:t>config.json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75D80C2F-D94D-96AF-B714-07072FE6DE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719" y="4971501"/>
            <a:ext cx="3322154" cy="122528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DAA1E01-BAB7-5177-B2CF-4C272666D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8384" y="1442782"/>
            <a:ext cx="3215919" cy="4351397"/>
          </a:xfrm>
          <a:prstGeom prst="rect">
            <a:avLst/>
          </a:prstGeom>
        </p:spPr>
      </p:pic>
      <p:pic>
        <p:nvPicPr>
          <p:cNvPr id="15362" name="Picture 2" descr="Project Jupyter - Wikipedia">
            <a:extLst>
              <a:ext uri="{FF2B5EF4-FFF2-40B4-BE49-F238E27FC236}">
                <a16:creationId xmlns:a16="http://schemas.microsoft.com/office/drawing/2014/main" id="{EC844AFE-7634-B2F5-2F39-B02FD03120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338" y="1032785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43D5ED8D-16FF-3DF9-2462-F8257AFEF401}"/>
              </a:ext>
            </a:extLst>
          </p:cNvPr>
          <p:cNvCxnSpPr>
            <a:endCxn id="32" idx="1"/>
          </p:cNvCxnSpPr>
          <p:nvPr/>
        </p:nvCxnSpPr>
        <p:spPr>
          <a:xfrm flipV="1">
            <a:off x="5272755" y="1165975"/>
            <a:ext cx="3306763" cy="1713958"/>
          </a:xfrm>
          <a:prstGeom prst="bentConnector3">
            <a:avLst/>
          </a:prstGeom>
          <a:ln>
            <a:solidFill>
              <a:srgbClr val="00994D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0682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8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9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6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33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335"/>
                            </p:stCondLst>
                            <p:childTnLst>
                              <p:par>
                                <p:cTn id="2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826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317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708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29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3902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llipse 1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09730F-33D7-DC69-B0C5-E7C304C96D70}"/>
              </a:ext>
            </a:extLst>
          </p:cNvPr>
          <p:cNvSpPr txBox="1"/>
          <p:nvPr/>
        </p:nvSpPr>
        <p:spPr>
          <a:xfrm>
            <a:off x="6571714" y="1781693"/>
            <a:ext cx="4953000" cy="3416320"/>
          </a:xfrm>
          <a:prstGeom prst="rect">
            <a:avLst/>
          </a:prstGeom>
          <a:noFill/>
          <a:ln w="9525"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nclud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source code editor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ild automation tools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debugger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de comple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yntax highlighting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V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rsion control integration,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tc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llowing developers to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W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ite, compile, test, and debug their code within a single 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I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S Code, PyCharm, Eclipse,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tc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242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498152-17A2-A983-B0CC-C20D13C738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8C14CC-13D4-8F61-7E6B-A0B870CBB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aration function/class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DA34EAEE-D6DE-E527-5B2E-EB77B84B65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3CCF773E-2070-81BB-7140-09D5795F3B76}"/>
              </a:ext>
            </a:extLst>
          </p:cNvPr>
          <p:cNvSpPr/>
          <p:nvPr/>
        </p:nvSpPr>
        <p:spPr>
          <a:xfrm>
            <a:off x="9469273" y="2800263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037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9BAE55-D2B9-B46F-BE63-78F16D047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9ABB46D-57C1-A2ED-B8CE-0FA0AA10B149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5075853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tils – Get datase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F8FF01-886C-5C91-68B1-3F55F610CD7A}"/>
              </a:ext>
            </a:extLst>
          </p:cNvPr>
          <p:cNvSpPr/>
          <p:nvPr/>
        </p:nvSpPr>
        <p:spPr>
          <a:xfrm>
            <a:off x="241421" y="979207"/>
            <a:ext cx="11716281" cy="53474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495AFA-134D-BE82-0EAA-B871CD31FBC6}"/>
              </a:ext>
            </a:extLst>
          </p:cNvPr>
          <p:cNvSpPr/>
          <p:nvPr/>
        </p:nvSpPr>
        <p:spPr>
          <a:xfrm>
            <a:off x="234298" y="979207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845877-CA27-3FF0-EBC7-940C2B425C70}"/>
              </a:ext>
            </a:extLst>
          </p:cNvPr>
          <p:cNvSpPr/>
          <p:nvPr/>
        </p:nvSpPr>
        <p:spPr>
          <a:xfrm>
            <a:off x="1382312" y="979206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tils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158AE40-DB41-6306-977A-02A35E3A01D4}"/>
              </a:ext>
            </a:extLst>
          </p:cNvPr>
          <p:cNvGrpSpPr/>
          <p:nvPr/>
        </p:nvGrpSpPr>
        <p:grpSpPr>
          <a:xfrm>
            <a:off x="465766" y="1133035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6EAB2CF-0F4D-9FD5-889F-952381320A1E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E0DA15A-6779-1F7A-07E6-CD7A247757D4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C3BD79B-4814-A894-1829-35EE047AA5EF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0B223F2-BD70-C847-50E5-B4335CC3F160}"/>
              </a:ext>
            </a:extLst>
          </p:cNvPr>
          <p:cNvSpPr txBox="1"/>
          <p:nvPr/>
        </p:nvSpPr>
        <p:spPr>
          <a:xfrm>
            <a:off x="295541" y="1525340"/>
            <a:ext cx="11662161" cy="480131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ataset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datase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9D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dataset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Extract the dataset name, source language, target language, and split from the confi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_nam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ataset_nam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“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news_commentary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”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ng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sourc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“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”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ng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targe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“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fr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”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spli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pli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# “train”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onstruct the language pair strin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nguage_pai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ng_src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ng_tgt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Load the dataset using the provided parameter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raw_datase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_nam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language_pai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plit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pli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Return the loaded datase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raw_datase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9C483E6-A445-F52C-7D86-22712ABD0F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1712" y="3019138"/>
            <a:ext cx="5159187" cy="1813717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EA815ABE-5D10-263F-EE36-ACC9505257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985" y="1080598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5197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21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952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473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854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235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16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817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188"/>
                            </p:stCondLst>
                            <p:childTnLst>
                              <p:par>
                                <p:cTn id="3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89"/>
                            </p:stCondLst>
                            <p:childTnLst>
                              <p:par>
                                <p:cTn id="4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220"/>
                            </p:stCondLst>
                            <p:childTnLst>
                              <p:par>
                                <p:cTn id="4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441"/>
                            </p:stCondLst>
                            <p:childTnLst>
                              <p:par>
                                <p:cTn id="4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D5552F-3808-4A7D-6C44-0D5FE9F34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0512EB9-18E2-A69D-26A8-2F0010FB5AD2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7785220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– Get datase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F93122-90BE-D91E-8AC7-58E48B9BF94F}"/>
              </a:ext>
            </a:extLst>
          </p:cNvPr>
          <p:cNvSpPr/>
          <p:nvPr/>
        </p:nvSpPr>
        <p:spPr>
          <a:xfrm>
            <a:off x="161599" y="979206"/>
            <a:ext cx="11868802" cy="57930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58ABF6-2AC3-217E-2BE7-5B719CC808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844" y="5040416"/>
            <a:ext cx="8580864" cy="670618"/>
          </a:xfrm>
          <a:prstGeom prst="rect">
            <a:avLst/>
          </a:prstGeom>
          <a:ln>
            <a:solidFill>
              <a:srgbClr val="00994D"/>
            </a:solidFill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A780E31-A3C8-FF61-0DE6-E9C4225D9A69}"/>
              </a:ext>
            </a:extLst>
          </p:cNvPr>
          <p:cNvSpPr/>
          <p:nvPr/>
        </p:nvSpPr>
        <p:spPr>
          <a:xfrm>
            <a:off x="161599" y="979207"/>
            <a:ext cx="11868802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FAF240-69CD-B9ED-6796-A6039C0C00EC}"/>
              </a:ext>
            </a:extLst>
          </p:cNvPr>
          <p:cNvSpPr/>
          <p:nvPr/>
        </p:nvSpPr>
        <p:spPr>
          <a:xfrm>
            <a:off x="1309613" y="979207"/>
            <a:ext cx="3808593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get_dataset.ipynb</a:t>
            </a:r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76D7EA1-5CED-71C8-8C5D-A497670F350C}"/>
              </a:ext>
            </a:extLst>
          </p:cNvPr>
          <p:cNvGrpSpPr/>
          <p:nvPr/>
        </p:nvGrpSpPr>
        <p:grpSpPr>
          <a:xfrm>
            <a:off x="393067" y="1163343"/>
            <a:ext cx="653739" cy="170917"/>
            <a:chOff x="6937649" y="914403"/>
            <a:chExt cx="653739" cy="170917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6934EE6-9923-2A31-9DD9-5BB5BEFAAEA5}"/>
                </a:ext>
              </a:extLst>
            </p:cNvPr>
            <p:cNvSpPr/>
            <p:nvPr/>
          </p:nvSpPr>
          <p:spPr>
            <a:xfrm>
              <a:off x="6937649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39D51264-6879-8B2A-C7FB-06A9C9B80B22}"/>
                </a:ext>
              </a:extLst>
            </p:cNvPr>
            <p:cNvSpPr/>
            <p:nvPr/>
          </p:nvSpPr>
          <p:spPr>
            <a:xfrm>
              <a:off x="7202564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CC119D1D-9AC7-31F7-081A-626A3B37F24F}"/>
                </a:ext>
              </a:extLst>
            </p:cNvPr>
            <p:cNvSpPr/>
            <p:nvPr/>
          </p:nvSpPr>
          <p:spPr>
            <a:xfrm>
              <a:off x="7429018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32AF0F76-122A-325B-8713-C48E7442DC34}"/>
              </a:ext>
            </a:extLst>
          </p:cNvPr>
          <p:cNvSpPr txBox="1"/>
          <p:nvPr/>
        </p:nvSpPr>
        <p:spPr>
          <a:xfrm>
            <a:off x="222843" y="1555648"/>
            <a:ext cx="9848315" cy="313932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datase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# Load confi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onfig.js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Load datase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ranslati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[: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6" name="Picture 2" descr="Project Jupyter - Wikipedia">
            <a:extLst>
              <a:ext uri="{FF2B5EF4-FFF2-40B4-BE49-F238E27FC236}">
                <a16:creationId xmlns:a16="http://schemas.microsoft.com/office/drawing/2014/main" id="{21B68D9B-1B4D-8662-E2C0-D9640D2D03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765" y="1004944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885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8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9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8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89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1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6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67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93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550501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CA3AE9-B2CE-9DA7-37BA-FF8324487D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B6E9C-3E6F-D2EF-CAB7-D07E2FEB12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aration function/class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19BD07C8-42FD-E2A2-F88C-54D14D48D1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F47863AB-A632-918C-1D82-CE819ABED7AC}"/>
              </a:ext>
            </a:extLst>
          </p:cNvPr>
          <p:cNvSpPr/>
          <p:nvPr/>
        </p:nvSpPr>
        <p:spPr>
          <a:xfrm>
            <a:off x="9469273" y="2518252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061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2C43FE-1C5A-8083-BE56-EE3FB5C3CE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42DF776-0457-67D9-3DDE-25D8D40D5729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5075853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tils – Get tokeniz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F12C15-2303-A661-DD94-B610A8A30ECD}"/>
              </a:ext>
            </a:extLst>
          </p:cNvPr>
          <p:cNvSpPr/>
          <p:nvPr/>
        </p:nvSpPr>
        <p:spPr>
          <a:xfrm>
            <a:off x="241421" y="658813"/>
            <a:ext cx="11716281" cy="5901445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C61000-E3F7-DC36-CE62-41B252CAAFF5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3336034-B98C-ED24-975C-9FD73C89A23B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tils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F8188CA-FDB7-AACB-DE31-DFA8A34A1075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649CA7F-3505-A0B9-EE5A-38FEA5DFD80E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F6C4916-0A2A-CDEB-027D-BF0189956EC4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562F0C0E-7B38-ECDA-AA25-52887902188B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B82BB55-671D-2A3A-E803-03D1172D0203}"/>
              </a:ext>
            </a:extLst>
          </p:cNvPr>
          <p:cNvSpPr txBox="1"/>
          <p:nvPr/>
        </p:nvSpPr>
        <p:spPr>
          <a:xfrm>
            <a:off x="295541" y="1204946"/>
            <a:ext cx="11662161" cy="535531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athlib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ath</a:t>
            </a:r>
            <a:endParaRPr lang="en-US" b="0" dirty="0">
              <a:solidFill>
                <a:srgbClr val="FF9D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kenizer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el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e_tokenizer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iner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9D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ataset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anguage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Extract the tokenizer name from the config and construct the tokenizer file pat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nam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okenizer_nam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pa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name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{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anguage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json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"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heck if a tokenizer file already exists at the specified pat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xist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: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f it does, load the tokenizer from that fil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tokenizer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rom_fi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f it doesn't, create a new tokeniz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tokenizer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el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WordLev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unk_token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UNK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re_tokeniz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e_tokenizer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Whitespac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F3F76075-7C34-640F-BBFD-4A7BDD75B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6862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9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0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8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6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74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26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61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98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43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47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78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33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A4FD23-142C-1A7F-B400-8CE43797A7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89860E5-844E-0DF0-AA71-923B27B723F2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5075853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tils – Get tokeniz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2141C76-F293-7FFF-EEE3-5F3E618EA9BD}"/>
              </a:ext>
            </a:extLst>
          </p:cNvPr>
          <p:cNvSpPr/>
          <p:nvPr/>
        </p:nvSpPr>
        <p:spPr>
          <a:xfrm>
            <a:off x="241421" y="658813"/>
            <a:ext cx="11716281" cy="5901445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58526C-EAA2-6367-4DFF-1AA5E2CFD11E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9D6353-F5CD-C7B2-F467-24F0ACE5729A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tils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CD195D5-CA22-808F-2128-AE49461AEB0A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DEEC7DE-DB3F-185E-84B6-A2F51544C310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81FAD16-D3E8-3CCE-EA40-53574E1C2AE4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10D5725-97FB-CC4E-31D5-9FA08602E1B2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EF6E54E-DD7E-BD64-70B0-561138CFFAC8}"/>
              </a:ext>
            </a:extLst>
          </p:cNvPr>
          <p:cNvSpPr txBox="1"/>
          <p:nvPr/>
        </p:nvSpPr>
        <p:spPr>
          <a:xfrm>
            <a:off x="295541" y="1204946"/>
            <a:ext cx="11662161" cy="452431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	 # Create a trainer for the tokeniz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trainer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iner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WordLevelTrain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min_frequency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pecial_tokens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PAD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UNK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SOS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EOS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rain the tokenizer on the provided datase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in_from_iterat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te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language]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tem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ataset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ranslati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rainer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er</a:t>
            </a: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ave the trained tokenizer to the specified pat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av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Return the tokeniz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tokenizer</a:t>
            </a: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D43E9589-CB70-8642-6241-6BEDBDF766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2189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9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6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7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62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916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37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37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948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239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42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9D43E3-361A-D7A3-FF10-883111EFCF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8DDB2E1-1B29-5061-A296-3ECD1A4569E3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7033190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– Get tokeniz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7B0699-340D-3B57-194C-CB1C6F29970D}"/>
              </a:ext>
            </a:extLst>
          </p:cNvPr>
          <p:cNvSpPr/>
          <p:nvPr/>
        </p:nvSpPr>
        <p:spPr>
          <a:xfrm>
            <a:off x="234298" y="649463"/>
            <a:ext cx="11716281" cy="59014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308F6C-F20A-A987-AD02-9E17C10F6C2A}"/>
              </a:ext>
            </a:extLst>
          </p:cNvPr>
          <p:cNvSpPr/>
          <p:nvPr/>
        </p:nvSpPr>
        <p:spPr>
          <a:xfrm>
            <a:off x="234298" y="649463"/>
            <a:ext cx="11722608" cy="46634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063702E-3EAA-05AE-0AE7-6514EED60A64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0A5ACAE-87F4-D21C-AFD6-D4D0662DE2E0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AE50819-C463-5D65-DB7B-D3F242A7BAB3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BFFB113-64F3-BA79-15C6-404815C545EB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45131C1-4BDE-B2C1-3AF3-264B86925631}"/>
              </a:ext>
            </a:extLst>
          </p:cNvPr>
          <p:cNvSpPr txBox="1"/>
          <p:nvPr/>
        </p:nvSpPr>
        <p:spPr>
          <a:xfrm>
            <a:off x="295541" y="1204946"/>
            <a:ext cx="11563667" cy="452431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# Load confi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onfig.js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oad_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_file_pat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Load datase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ranslati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[: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# Load tokeniz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sourc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targe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00931F7-5CE3-4747-39C2-1299CD6D4D29}"/>
              </a:ext>
            </a:extLst>
          </p:cNvPr>
          <p:cNvSpPr/>
          <p:nvPr/>
        </p:nvSpPr>
        <p:spPr>
          <a:xfrm>
            <a:off x="1382312" y="658812"/>
            <a:ext cx="4386099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get_tokenizer.ipynb</a:t>
            </a:r>
            <a:endParaRPr lang="en-US" dirty="0"/>
          </a:p>
        </p:txBody>
      </p:sp>
      <p:pic>
        <p:nvPicPr>
          <p:cNvPr id="5" name="Picture 2" descr="Project Jupyter - Wikipedia">
            <a:extLst>
              <a:ext uri="{FF2B5EF4-FFF2-40B4-BE49-F238E27FC236}">
                <a16:creationId xmlns:a16="http://schemas.microsoft.com/office/drawing/2014/main" id="{A02D1EE1-C7D7-011D-06B6-BAF3FB7245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150" y="695501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6939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8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9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92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3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35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81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7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39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4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22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194C35-BF18-05D7-9FA7-60F62FFB2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C03ED47-89DF-7D1D-E0EF-11DE47F4808E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7511754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– Get tokeniz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8FBDDA-4327-F0AA-81EB-DC0BC367DA54}"/>
              </a:ext>
            </a:extLst>
          </p:cNvPr>
          <p:cNvSpPr/>
          <p:nvPr/>
        </p:nvSpPr>
        <p:spPr>
          <a:xfrm>
            <a:off x="234298" y="649464"/>
            <a:ext cx="11716281" cy="61228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CE01D1-7AD2-70E4-7C1C-E16420952DC2}"/>
              </a:ext>
            </a:extLst>
          </p:cNvPr>
          <p:cNvSpPr/>
          <p:nvPr/>
        </p:nvSpPr>
        <p:spPr>
          <a:xfrm>
            <a:off x="234298" y="649463"/>
            <a:ext cx="11722608" cy="46634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A131BD-A632-060C-5C10-C5EAEB524739}"/>
              </a:ext>
            </a:extLst>
          </p:cNvPr>
          <p:cNvSpPr/>
          <p:nvPr/>
        </p:nvSpPr>
        <p:spPr>
          <a:xfrm>
            <a:off x="1382312" y="658812"/>
            <a:ext cx="4386099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get_tokenizer.ipynb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97B77E1-7520-7FFC-5D7E-138EE20DAF9A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E31DCEB-6BBA-AF26-2A3C-243949C49E7C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7362BD9-8EB6-F0A8-D1D4-0CE59F77DEB1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54D68A3-B20E-0701-A5DB-7DF0E90F727E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B4FB037-4FB7-A00C-E973-AC5487ED5C7F}"/>
              </a:ext>
            </a:extLst>
          </p:cNvPr>
          <p:cNvSpPr txBox="1"/>
          <p:nvPr/>
        </p:nvSpPr>
        <p:spPr>
          <a:xfrm>
            <a:off x="295541" y="1204946"/>
            <a:ext cx="11563667" cy="258532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# Explore tokenizer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heck vocabulary siz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ource vocabulary size: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arget vocabulary size: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heck source tokenizer encodes/decod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ource tokenizer encodes 'I love you':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n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I love you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ource tokenizer decodes [131, 3181, 345]: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e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3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18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45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3DEE343-D37A-7E00-A070-363101648C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541" y="4227856"/>
            <a:ext cx="5730737" cy="800169"/>
          </a:xfrm>
          <a:prstGeom prst="rect">
            <a:avLst/>
          </a:prstGeom>
          <a:ln>
            <a:solidFill>
              <a:srgbClr val="00994D"/>
            </a:solidFill>
          </a:ln>
        </p:spPr>
      </p:pic>
      <p:pic>
        <p:nvPicPr>
          <p:cNvPr id="2" name="Picture 2" descr="Project Jupyter - Wikipedia">
            <a:extLst>
              <a:ext uri="{FF2B5EF4-FFF2-40B4-BE49-F238E27FC236}">
                <a16:creationId xmlns:a16="http://schemas.microsoft.com/office/drawing/2014/main" id="{3A8029FA-33F8-332F-930C-3EA060026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150" y="695501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2889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91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92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393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44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25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346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01038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95525CC-3B2C-A998-90C1-7DBD91D9412F}"/>
              </a:ext>
            </a:extLst>
          </p:cNvPr>
          <p:cNvSpPr txBox="1"/>
          <p:nvPr/>
        </p:nvSpPr>
        <p:spPr>
          <a:xfrm>
            <a:off x="6666259" y="2670329"/>
            <a:ext cx="5208241" cy="2585323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sed f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mmand execution</a:t>
            </a:r>
            <a:endParaRPr lang="en-US" sz="1800" dirty="0">
              <a:solidFill>
                <a:srgbClr val="195979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F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le manipula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ogram execu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ystem administration tas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terminal applic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Windows: Command Prompt, PowerShel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Linux: Bas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macOS: iTerm2</a:t>
            </a:r>
          </a:p>
        </p:txBody>
      </p:sp>
    </p:spTree>
    <p:extLst>
      <p:ext uri="{BB962C8B-B14F-4D97-AF65-F5344CB8AC3E}">
        <p14:creationId xmlns:p14="http://schemas.microsoft.com/office/powerpoint/2010/main" val="938070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C1F756-7BD8-DF75-CE0D-645BF3E8E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29C579-7D48-62EF-1944-FD5FCFFC47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aration function/class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62147941-0B44-E531-B337-D94FD9546C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0C5F6CFF-A5BD-70F0-6976-3B3EDDEB4F82}"/>
              </a:ext>
            </a:extLst>
          </p:cNvPr>
          <p:cNvSpPr/>
          <p:nvPr/>
        </p:nvSpPr>
        <p:spPr>
          <a:xfrm rot="16200000">
            <a:off x="6512429" y="1706401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8B815-839C-D218-9125-98E0045FBD80}"/>
              </a:ext>
            </a:extLst>
          </p:cNvPr>
          <p:cNvSpPr/>
          <p:nvPr/>
        </p:nvSpPr>
        <p:spPr>
          <a:xfrm>
            <a:off x="5956419" y="2327425"/>
            <a:ext cx="1598063" cy="116931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763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84404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E3CFD-1506-7923-8568-BA147306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B2519-4680-7E4E-6799-CD7FCE47820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eating mask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C38D16-A82B-694E-86A3-04766412DA18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93277D-AC8E-E7BE-BFAA-24367E3C34B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76469-3D47-F275-9DC7-0AC1E389B43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k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2A0973-2276-0199-9BE2-2FF2D9742EF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2D8D45-0A4A-D0A2-4816-EDAA4EBF999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0ED95FE-A078-E285-066C-CAD92DA80FB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68F752-4F8D-A2D1-4B58-F5FDAA617D15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9B638B-50CD-CABC-B3D1-F70D4E6DA7F7}"/>
              </a:ext>
            </a:extLst>
          </p:cNvPr>
          <p:cNvSpPr txBox="1"/>
          <p:nvPr/>
        </p:nvSpPr>
        <p:spPr>
          <a:xfrm>
            <a:off x="295541" y="1204946"/>
            <a:ext cx="11662161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encoder_mask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!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unsquee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unsquee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0778888-A974-9F85-9FBB-ACAA231D2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B50F3779-8EF6-980C-524D-726EC05A86F3}"/>
              </a:ext>
            </a:extLst>
          </p:cNvPr>
          <p:cNvGrpSpPr/>
          <p:nvPr/>
        </p:nvGrpSpPr>
        <p:grpSpPr>
          <a:xfrm>
            <a:off x="1530959" y="2769340"/>
            <a:ext cx="8600825" cy="1841988"/>
            <a:chOff x="1530959" y="2769340"/>
            <a:chExt cx="8600825" cy="18419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E328D9F-D6F8-E827-C20F-F80A9FF78C68}"/>
                </a:ext>
              </a:extLst>
            </p:cNvPr>
            <p:cNvSpPr/>
            <p:nvPr/>
          </p:nvSpPr>
          <p:spPr>
            <a:xfrm>
              <a:off x="2107164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8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49A3433-663A-E16F-0881-8DF95057B2B5}"/>
                </a:ext>
              </a:extLst>
            </p:cNvPr>
            <p:cNvSpPr/>
            <p:nvPr/>
          </p:nvSpPr>
          <p:spPr>
            <a:xfrm>
              <a:off x="1530959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01CC3EA-0BF2-9507-0608-775718AE2BBC}"/>
                </a:ext>
              </a:extLst>
            </p:cNvPr>
            <p:cNvSpPr/>
            <p:nvPr/>
          </p:nvSpPr>
          <p:spPr>
            <a:xfrm>
              <a:off x="2683369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72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958AFAA-7ECB-BB8A-5F9F-AE2645391D48}"/>
                </a:ext>
              </a:extLst>
            </p:cNvPr>
            <p:cNvSpPr/>
            <p:nvPr/>
          </p:nvSpPr>
          <p:spPr>
            <a:xfrm>
              <a:off x="3259574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2255074-EC86-5796-0139-1B17F2E7FE6C}"/>
                </a:ext>
              </a:extLst>
            </p:cNvPr>
            <p:cNvSpPr/>
            <p:nvPr/>
          </p:nvSpPr>
          <p:spPr>
            <a:xfrm>
              <a:off x="3835779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33459EC-E988-CBDF-11B0-FF69F6271BA6}"/>
                </a:ext>
              </a:extLst>
            </p:cNvPr>
            <p:cNvSpPr/>
            <p:nvPr/>
          </p:nvSpPr>
          <p:spPr>
            <a:xfrm>
              <a:off x="4411982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51F3828B-43E7-4AE5-7740-9BB7B59FE26D}"/>
                </a:ext>
              </a:extLst>
            </p:cNvPr>
            <p:cNvCxnSpPr/>
            <p:nvPr/>
          </p:nvCxnSpPr>
          <p:spPr>
            <a:xfrm>
              <a:off x="5422392" y="3651694"/>
              <a:ext cx="832104" cy="0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A8BD7C2-6FFB-1051-E723-8DE2B3A87012}"/>
                </a:ext>
              </a:extLst>
            </p:cNvPr>
            <p:cNvSpPr/>
            <p:nvPr/>
          </p:nvSpPr>
          <p:spPr>
            <a:xfrm>
              <a:off x="7320535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2CF2566-4237-1927-6745-18A8F3F7D358}"/>
                </a:ext>
              </a:extLst>
            </p:cNvPr>
            <p:cNvSpPr/>
            <p:nvPr/>
          </p:nvSpPr>
          <p:spPr>
            <a:xfrm>
              <a:off x="6744330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35A08DE-A98A-EC08-4D4E-1B90B7C51555}"/>
                </a:ext>
              </a:extLst>
            </p:cNvPr>
            <p:cNvSpPr/>
            <p:nvPr/>
          </p:nvSpPr>
          <p:spPr>
            <a:xfrm>
              <a:off x="7896740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F916FD5-7553-BD9C-A470-81A0E3E96ACC}"/>
                </a:ext>
              </a:extLst>
            </p:cNvPr>
            <p:cNvSpPr/>
            <p:nvPr/>
          </p:nvSpPr>
          <p:spPr>
            <a:xfrm>
              <a:off x="8472945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CC49116-E1E5-05FF-BD25-3566DAD3F906}"/>
                </a:ext>
              </a:extLst>
            </p:cNvPr>
            <p:cNvSpPr/>
            <p:nvPr/>
          </p:nvSpPr>
          <p:spPr>
            <a:xfrm>
              <a:off x="9049150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A7F0E33-2A30-27F2-E180-59888F144B85}"/>
                </a:ext>
              </a:extLst>
            </p:cNvPr>
            <p:cNvSpPr/>
            <p:nvPr/>
          </p:nvSpPr>
          <p:spPr>
            <a:xfrm>
              <a:off x="9625353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  <p:sp>
          <p:nvSpPr>
            <p:cNvPr id="29" name="Left Brace 28">
              <a:extLst>
                <a:ext uri="{FF2B5EF4-FFF2-40B4-BE49-F238E27FC236}">
                  <a16:creationId xmlns:a16="http://schemas.microsoft.com/office/drawing/2014/main" id="{A3D21C71-F01A-1EA6-3EA8-E01A68CB7739}"/>
                </a:ext>
              </a:extLst>
            </p:cNvPr>
            <p:cNvSpPr/>
            <p:nvPr/>
          </p:nvSpPr>
          <p:spPr>
            <a:xfrm rot="16200000">
              <a:off x="3138386" y="2717762"/>
              <a:ext cx="170841" cy="2879266"/>
            </a:xfrm>
            <a:prstGeom prst="leftBrac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Left Brace 29">
              <a:extLst>
                <a:ext uri="{FF2B5EF4-FFF2-40B4-BE49-F238E27FC236}">
                  <a16:creationId xmlns:a16="http://schemas.microsoft.com/office/drawing/2014/main" id="{3608556B-B242-3AA4-2A17-48100DD4A75F}"/>
                </a:ext>
              </a:extLst>
            </p:cNvPr>
            <p:cNvSpPr/>
            <p:nvPr/>
          </p:nvSpPr>
          <p:spPr>
            <a:xfrm rot="16200000">
              <a:off x="8351758" y="2717762"/>
              <a:ext cx="170841" cy="2879266"/>
            </a:xfrm>
            <a:prstGeom prst="leftBrac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F5D8CE3-8DF8-71B6-8D2D-007E9E719CAF}"/>
                </a:ext>
              </a:extLst>
            </p:cNvPr>
            <p:cNvSpPr txBox="1"/>
            <p:nvPr/>
          </p:nvSpPr>
          <p:spPr>
            <a:xfrm>
              <a:off x="2028419" y="4241996"/>
              <a:ext cx="22069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Encoder input ids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B45BCB4-C511-BCB0-2AE0-C190E4612157}"/>
                </a:ext>
              </a:extLst>
            </p:cNvPr>
            <p:cNvSpPr txBox="1"/>
            <p:nvPr/>
          </p:nvSpPr>
          <p:spPr>
            <a:xfrm>
              <a:off x="7128022" y="4241996"/>
              <a:ext cx="26183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Encoder mask's output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12BBFA7-C343-2027-5317-10B2C2F6DC53}"/>
                </a:ext>
              </a:extLst>
            </p:cNvPr>
            <p:cNvSpPr txBox="1"/>
            <p:nvPr/>
          </p:nvSpPr>
          <p:spPr>
            <a:xfrm>
              <a:off x="3259574" y="2769340"/>
              <a:ext cx="22069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PAD token id</a:t>
              </a: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BAD376E8-8D6F-6080-74D6-ABF025958ABA}"/>
                </a:ext>
              </a:extLst>
            </p:cNvPr>
            <p:cNvCxnSpPr>
              <a:cxnSpLocks/>
              <a:stCxn id="34" idx="2"/>
              <a:endCxn id="19" idx="0"/>
            </p:cNvCxnSpPr>
            <p:nvPr/>
          </p:nvCxnSpPr>
          <p:spPr>
            <a:xfrm flipH="1">
              <a:off x="4088995" y="3138672"/>
              <a:ext cx="274046" cy="276589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F19AA8E2-3E60-171D-1FA9-B2E09828D1DA}"/>
                </a:ext>
              </a:extLst>
            </p:cNvPr>
            <p:cNvCxnSpPr>
              <a:cxnSpLocks/>
              <a:endCxn id="20" idx="0"/>
            </p:cNvCxnSpPr>
            <p:nvPr/>
          </p:nvCxnSpPr>
          <p:spPr>
            <a:xfrm>
              <a:off x="4363040" y="3138672"/>
              <a:ext cx="302158" cy="276589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34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601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142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528C8-EE06-153D-96D4-1ECA9678A5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1ACBBE4-02EA-E772-34AE-2B5D9DBB7B2D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82780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– Create encoder mas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E2EF44-D617-936B-8638-CD82CA53233F}"/>
              </a:ext>
            </a:extLst>
          </p:cNvPr>
          <p:cNvSpPr/>
          <p:nvPr/>
        </p:nvSpPr>
        <p:spPr>
          <a:xfrm>
            <a:off x="88901" y="612774"/>
            <a:ext cx="12014198" cy="6187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C929B4-AD9A-2AFB-4CC3-6ACE3974345E}"/>
              </a:ext>
            </a:extLst>
          </p:cNvPr>
          <p:cNvSpPr/>
          <p:nvPr/>
        </p:nvSpPr>
        <p:spPr>
          <a:xfrm>
            <a:off x="88900" y="612774"/>
            <a:ext cx="12014198" cy="46634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F707F23-C974-005B-5EFB-9B18A00D10C9}"/>
              </a:ext>
            </a:extLst>
          </p:cNvPr>
          <p:cNvSpPr/>
          <p:nvPr/>
        </p:nvSpPr>
        <p:spPr>
          <a:xfrm>
            <a:off x="1236914" y="622123"/>
            <a:ext cx="3070166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mask.ipynb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A01A142-D5D4-6C17-C76B-1D3EE54912D8}"/>
              </a:ext>
            </a:extLst>
          </p:cNvPr>
          <p:cNvGrpSpPr/>
          <p:nvPr/>
        </p:nvGrpSpPr>
        <p:grpSpPr>
          <a:xfrm>
            <a:off x="320368" y="775952"/>
            <a:ext cx="653739" cy="170917"/>
            <a:chOff x="462204" y="914403"/>
            <a:chExt cx="653739" cy="170917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ABCCDB3-4EC9-1077-5DCA-B5343E32B58D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579E029-8571-0A49-8FC5-9D9307E34603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43EDE7C-C7F2-FE32-3F66-9084A962D058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8D709CA-486A-D1C3-F454-65C02805FCBF}"/>
              </a:ext>
            </a:extLst>
          </p:cNvPr>
          <p:cNvSpPr txBox="1"/>
          <p:nvPr/>
        </p:nvSpPr>
        <p:spPr>
          <a:xfrm>
            <a:off x="150143" y="1168257"/>
            <a:ext cx="11952956" cy="535531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inputs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_input_i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7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d token id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encoder mas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(1, 1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FFC6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	</a:t>
            </a:r>
            <a:r>
              <a:rPr lang="en-US" b="0" dirty="0" err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	</a:t>
            </a:r>
            <a:r>
              <a:rPr lang="en-US" b="0" dirty="0" err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	</a:t>
            </a:r>
            <a:r>
              <a:rPr lang="en-US" b="0" dirty="0" err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F47D0551-8DF6-AC90-6E63-49FC92BC79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2864" y="4326067"/>
            <a:ext cx="3568479" cy="1102984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13CBC44-7713-69B3-9171-81634833C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864" y="5563318"/>
            <a:ext cx="5236139" cy="1102983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6" name="Picture 2" descr="Project Jupyter - Wikipedia">
            <a:extLst>
              <a:ext uri="{FF2B5EF4-FFF2-40B4-BE49-F238E27FC236}">
                <a16:creationId xmlns:a16="http://schemas.microsoft.com/office/drawing/2014/main" id="{18518883-BAC3-EF60-DCA4-202473AADE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368" y="6478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1747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8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9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9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5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8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9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3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70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36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6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82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15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38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74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2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206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358125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E3CFD-1506-7923-8568-BA147306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B2519-4680-7E4E-6799-CD7FCE47820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eating mask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C38D16-A82B-694E-86A3-04766412DA18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93277D-AC8E-E7BE-BFAA-24367E3C34B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76469-3D47-F275-9DC7-0AC1E389B43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k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2A0973-2276-0199-9BE2-2FF2D9742EF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2D8D45-0A4A-D0A2-4816-EDAA4EBF999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0ED95FE-A078-E285-066C-CAD92DA80FB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68F752-4F8D-A2D1-4B58-F5FDAA617D15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9B638B-50CD-CABC-B3D1-F70D4E6DA7F7}"/>
              </a:ext>
            </a:extLst>
          </p:cNvPr>
          <p:cNvSpPr txBox="1"/>
          <p:nvPr/>
        </p:nvSpPr>
        <p:spPr>
          <a:xfrm>
            <a:off x="295541" y="1204946"/>
            <a:ext cx="11662161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padding_mask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!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unsquee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0778888-A974-9F85-9FBB-ACAA231D2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DF54512-FE2C-1393-9785-84014118FAE4}"/>
              </a:ext>
            </a:extLst>
          </p:cNvPr>
          <p:cNvGrpSpPr/>
          <p:nvPr/>
        </p:nvGrpSpPr>
        <p:grpSpPr>
          <a:xfrm>
            <a:off x="1530959" y="2769340"/>
            <a:ext cx="8600825" cy="1841988"/>
            <a:chOff x="1530959" y="2769340"/>
            <a:chExt cx="8600825" cy="18419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6B3BB18-A697-07C4-4603-B0AA721EC938}"/>
                </a:ext>
              </a:extLst>
            </p:cNvPr>
            <p:cNvSpPr/>
            <p:nvPr/>
          </p:nvSpPr>
          <p:spPr>
            <a:xfrm>
              <a:off x="2107164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8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DD9BDFD-016F-922D-FAB2-8764B6C60E34}"/>
                </a:ext>
              </a:extLst>
            </p:cNvPr>
            <p:cNvSpPr/>
            <p:nvPr/>
          </p:nvSpPr>
          <p:spPr>
            <a:xfrm>
              <a:off x="1530959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961B581-0ECF-FBDE-5DA0-9DB8CEDE52FA}"/>
                </a:ext>
              </a:extLst>
            </p:cNvPr>
            <p:cNvSpPr/>
            <p:nvPr/>
          </p:nvSpPr>
          <p:spPr>
            <a:xfrm>
              <a:off x="2683369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72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27C73B5-9CD8-57C0-7FB2-958E954E0138}"/>
                </a:ext>
              </a:extLst>
            </p:cNvPr>
            <p:cNvSpPr/>
            <p:nvPr/>
          </p:nvSpPr>
          <p:spPr>
            <a:xfrm>
              <a:off x="3259574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19A0431-9224-B37B-52F8-C0F2B6936BAC}"/>
                </a:ext>
              </a:extLst>
            </p:cNvPr>
            <p:cNvSpPr/>
            <p:nvPr/>
          </p:nvSpPr>
          <p:spPr>
            <a:xfrm>
              <a:off x="3835779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235870A-6EFD-C2CF-CDBB-171692874FE8}"/>
                </a:ext>
              </a:extLst>
            </p:cNvPr>
            <p:cNvSpPr/>
            <p:nvPr/>
          </p:nvSpPr>
          <p:spPr>
            <a:xfrm>
              <a:off x="4411982" y="3415261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05E6C121-30AB-AC9A-BBE0-E3B0776AA168}"/>
                </a:ext>
              </a:extLst>
            </p:cNvPr>
            <p:cNvCxnSpPr/>
            <p:nvPr/>
          </p:nvCxnSpPr>
          <p:spPr>
            <a:xfrm>
              <a:off x="5422392" y="3651694"/>
              <a:ext cx="832104" cy="0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28AB96B-6BFB-1BC5-49D7-A4F4E46745E5}"/>
                </a:ext>
              </a:extLst>
            </p:cNvPr>
            <p:cNvSpPr/>
            <p:nvPr/>
          </p:nvSpPr>
          <p:spPr>
            <a:xfrm>
              <a:off x="7320535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218BFD4-D6D1-AEF9-ACFB-9168262E84D1}"/>
                </a:ext>
              </a:extLst>
            </p:cNvPr>
            <p:cNvSpPr/>
            <p:nvPr/>
          </p:nvSpPr>
          <p:spPr>
            <a:xfrm>
              <a:off x="6744330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016C572-1774-43CD-2E74-61E1852F2C96}"/>
                </a:ext>
              </a:extLst>
            </p:cNvPr>
            <p:cNvSpPr/>
            <p:nvPr/>
          </p:nvSpPr>
          <p:spPr>
            <a:xfrm>
              <a:off x="7896740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5C5CCE6-265A-2AAA-B124-5E05E612DEF1}"/>
                </a:ext>
              </a:extLst>
            </p:cNvPr>
            <p:cNvSpPr/>
            <p:nvPr/>
          </p:nvSpPr>
          <p:spPr>
            <a:xfrm>
              <a:off x="8472945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0DDBD94-343E-B00C-70A3-04C8454638C0}"/>
                </a:ext>
              </a:extLst>
            </p:cNvPr>
            <p:cNvSpPr/>
            <p:nvPr/>
          </p:nvSpPr>
          <p:spPr>
            <a:xfrm>
              <a:off x="9049150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7F832BE-B779-4A8F-6B05-EFA40DD21675}"/>
                </a:ext>
              </a:extLst>
            </p:cNvPr>
            <p:cNvSpPr/>
            <p:nvPr/>
          </p:nvSpPr>
          <p:spPr>
            <a:xfrm>
              <a:off x="9625353" y="3415260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  <p:sp>
          <p:nvSpPr>
            <p:cNvPr id="26" name="Left Brace 25">
              <a:extLst>
                <a:ext uri="{FF2B5EF4-FFF2-40B4-BE49-F238E27FC236}">
                  <a16:creationId xmlns:a16="http://schemas.microsoft.com/office/drawing/2014/main" id="{C0756B60-58D4-8818-4A55-EC1EB26851E4}"/>
                </a:ext>
              </a:extLst>
            </p:cNvPr>
            <p:cNvSpPr/>
            <p:nvPr/>
          </p:nvSpPr>
          <p:spPr>
            <a:xfrm rot="16200000">
              <a:off x="3138386" y="2717762"/>
              <a:ext cx="170841" cy="2879266"/>
            </a:xfrm>
            <a:prstGeom prst="leftBrac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Left Brace 26">
              <a:extLst>
                <a:ext uri="{FF2B5EF4-FFF2-40B4-BE49-F238E27FC236}">
                  <a16:creationId xmlns:a16="http://schemas.microsoft.com/office/drawing/2014/main" id="{DBA9BF97-488C-070B-7EE9-C0246FB2D3CC}"/>
                </a:ext>
              </a:extLst>
            </p:cNvPr>
            <p:cNvSpPr/>
            <p:nvPr/>
          </p:nvSpPr>
          <p:spPr>
            <a:xfrm rot="16200000">
              <a:off x="8351758" y="2717762"/>
              <a:ext cx="170841" cy="2879266"/>
            </a:xfrm>
            <a:prstGeom prst="leftBrac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123F7A5-3A0E-AC32-0079-D181A0BC4F88}"/>
                </a:ext>
              </a:extLst>
            </p:cNvPr>
            <p:cNvSpPr txBox="1"/>
            <p:nvPr/>
          </p:nvSpPr>
          <p:spPr>
            <a:xfrm>
              <a:off x="2028419" y="4241996"/>
              <a:ext cx="22069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Decoder input ids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A6306EB-9715-8760-0C4B-4F9497AEF10D}"/>
                </a:ext>
              </a:extLst>
            </p:cNvPr>
            <p:cNvSpPr txBox="1"/>
            <p:nvPr/>
          </p:nvSpPr>
          <p:spPr>
            <a:xfrm>
              <a:off x="7128022" y="4241996"/>
              <a:ext cx="26183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Padding mask's output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4447B64-964F-85AA-B39B-865FACEBE226}"/>
                </a:ext>
              </a:extLst>
            </p:cNvPr>
            <p:cNvSpPr txBox="1"/>
            <p:nvPr/>
          </p:nvSpPr>
          <p:spPr>
            <a:xfrm>
              <a:off x="3259574" y="2769340"/>
              <a:ext cx="22069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PAD token id</a:t>
              </a: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A5F17916-DBB4-A810-9090-596D205C26B3}"/>
                </a:ext>
              </a:extLst>
            </p:cNvPr>
            <p:cNvCxnSpPr>
              <a:cxnSpLocks/>
              <a:stCxn id="30" idx="2"/>
              <a:endCxn id="17" idx="0"/>
            </p:cNvCxnSpPr>
            <p:nvPr/>
          </p:nvCxnSpPr>
          <p:spPr>
            <a:xfrm flipH="1">
              <a:off x="4088995" y="3138672"/>
              <a:ext cx="274046" cy="276589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C1F7489B-35DD-CB7B-3EC7-9C5B71A2C0E7}"/>
                </a:ext>
              </a:extLst>
            </p:cNvPr>
            <p:cNvCxnSpPr>
              <a:cxnSpLocks/>
              <a:endCxn id="18" idx="0"/>
            </p:cNvCxnSpPr>
            <p:nvPr/>
          </p:nvCxnSpPr>
          <p:spPr>
            <a:xfrm>
              <a:off x="4363040" y="3138672"/>
              <a:ext cx="302158" cy="276589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38299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601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142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8DDE1B-0F55-4935-3869-B887A66442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5BB8F71-D932-95BA-A3B1-7CD2D08DA73A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9161093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– Create padding mas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7BA15CE-CC7B-B84D-A5EA-D915055A076D}"/>
              </a:ext>
            </a:extLst>
          </p:cNvPr>
          <p:cNvSpPr/>
          <p:nvPr/>
        </p:nvSpPr>
        <p:spPr>
          <a:xfrm>
            <a:off x="88901" y="612774"/>
            <a:ext cx="12014198" cy="6187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4C70C2-B340-CDB9-EBDA-C0AA4AB00123}"/>
              </a:ext>
            </a:extLst>
          </p:cNvPr>
          <p:cNvSpPr/>
          <p:nvPr/>
        </p:nvSpPr>
        <p:spPr>
          <a:xfrm>
            <a:off x="88900" y="612774"/>
            <a:ext cx="12014198" cy="46634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AD9CAEE-B41E-6904-6690-0096ABD014AB}"/>
              </a:ext>
            </a:extLst>
          </p:cNvPr>
          <p:cNvGrpSpPr/>
          <p:nvPr/>
        </p:nvGrpSpPr>
        <p:grpSpPr>
          <a:xfrm>
            <a:off x="320368" y="775952"/>
            <a:ext cx="653739" cy="170917"/>
            <a:chOff x="462204" y="914403"/>
            <a:chExt cx="653739" cy="170917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0C15995-38D1-3AEC-1878-E8E763610197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F9AC545-92E0-92AF-9423-D5B0423A9F80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348A971-F899-D131-418D-4D9A62DD21F0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1A633293-EBB2-ED02-54B5-851C10506663}"/>
              </a:ext>
            </a:extLst>
          </p:cNvPr>
          <p:cNvSpPr txBox="1"/>
          <p:nvPr/>
        </p:nvSpPr>
        <p:spPr>
          <a:xfrm>
            <a:off x="150145" y="1168257"/>
            <a:ext cx="11952954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inputs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_input_i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7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96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d token id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padding mask # (1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padding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	</a:t>
            </a:r>
            <a:r>
              <a:rPr lang="en-US" b="0" dirty="0" err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hape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</a:t>
            </a:r>
          </a:p>
          <a:p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	</a:t>
            </a:r>
            <a:r>
              <a:rPr lang="en-US" b="0" dirty="0" err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hape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150168-C421-A160-2A2A-6B3F3F1700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8514" y="4619983"/>
            <a:ext cx="5534134" cy="577810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4C747AC-3E89-80A0-D0C6-EA65E447E3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8514" y="5375657"/>
            <a:ext cx="4713384" cy="748333"/>
          </a:xfrm>
          <a:prstGeom prst="rect">
            <a:avLst/>
          </a:prstGeom>
          <a:ln>
            <a:solidFill>
              <a:srgbClr val="00B050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DA1F49A-8A33-8DD9-512A-08FB00CBC438}"/>
              </a:ext>
            </a:extLst>
          </p:cNvPr>
          <p:cNvSpPr/>
          <p:nvPr/>
        </p:nvSpPr>
        <p:spPr>
          <a:xfrm>
            <a:off x="1236914" y="622123"/>
            <a:ext cx="3070166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mask.ipynb</a:t>
            </a:r>
            <a:endParaRPr lang="en-US" dirty="0"/>
          </a:p>
        </p:txBody>
      </p:sp>
      <p:pic>
        <p:nvPicPr>
          <p:cNvPr id="10" name="Picture 2" descr="Project Jupyter - Wikipedia">
            <a:extLst>
              <a:ext uri="{FF2B5EF4-FFF2-40B4-BE49-F238E27FC236}">
                <a16:creationId xmlns:a16="http://schemas.microsoft.com/office/drawing/2014/main" id="{653EC9D4-3471-630C-56F7-A58FBDA501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368" y="6478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1185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8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9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9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5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8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3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35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62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79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10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33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69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145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623712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E3CFD-1506-7923-8568-BA147306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B2519-4680-7E4E-6799-CD7FCE47820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eating mask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C38D16-A82B-694E-86A3-04766412DA18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93277D-AC8E-E7BE-BFAA-24367E3C34B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76469-3D47-F275-9DC7-0AC1E389B43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k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2A0973-2276-0199-9BE2-2FF2D9742EF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2D8D45-0A4A-D0A2-4816-EDAA4EBF999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0ED95FE-A078-E285-066C-CAD92DA80FB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68F752-4F8D-A2D1-4B58-F5FDAA617D15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9B638B-50CD-CABC-B3D1-F70D4E6DA7F7}"/>
              </a:ext>
            </a:extLst>
          </p:cNvPr>
          <p:cNvSpPr txBox="1"/>
          <p:nvPr/>
        </p:nvSpPr>
        <p:spPr>
          <a:xfrm>
            <a:off x="295541" y="1204946"/>
            <a:ext cx="11662161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 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iu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one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agonal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y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0778888-A974-9F85-9FBB-ACAA231D2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79974FC-0B07-8E48-1EC4-69103CD8FD81}"/>
              </a:ext>
            </a:extLst>
          </p:cNvPr>
          <p:cNvSpPr txBox="1"/>
          <p:nvPr/>
        </p:nvSpPr>
        <p:spPr>
          <a:xfrm>
            <a:off x="1979588" y="4363672"/>
            <a:ext cx="1521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chemeClr val="bg1"/>
                </a:solidFill>
              </a:rPr>
              <a:t>seq_len</a:t>
            </a:r>
            <a:r>
              <a:rPr lang="en-US" dirty="0">
                <a:solidFill>
                  <a:schemeClr val="bg1"/>
                </a:solidFill>
              </a:rPr>
              <a:t> = 5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1134007-E32C-D940-CD55-2E7661740367}"/>
              </a:ext>
            </a:extLst>
          </p:cNvPr>
          <p:cNvCxnSpPr/>
          <p:nvPr/>
        </p:nvCxnSpPr>
        <p:spPr>
          <a:xfrm>
            <a:off x="3856589" y="4548338"/>
            <a:ext cx="832104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3D41BB96-13A7-832C-98A4-468E34AEC7EE}"/>
              </a:ext>
            </a:extLst>
          </p:cNvPr>
          <p:cNvSpPr txBox="1"/>
          <p:nvPr/>
        </p:nvSpPr>
        <p:spPr>
          <a:xfrm>
            <a:off x="8691290" y="4343630"/>
            <a:ext cx="1521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(1, 5, 5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9E0A942-BC14-F32D-FAD6-CB82042E737F}"/>
              </a:ext>
            </a:extLst>
          </p:cNvPr>
          <p:cNvSpPr/>
          <p:nvPr/>
        </p:nvSpPr>
        <p:spPr>
          <a:xfrm>
            <a:off x="550593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06DB767-97F1-B27A-EAE5-7719ED259CEC}"/>
              </a:ext>
            </a:extLst>
          </p:cNvPr>
          <p:cNvSpPr/>
          <p:nvPr/>
        </p:nvSpPr>
        <p:spPr>
          <a:xfrm>
            <a:off x="550593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E9F8A9C-FA51-3B00-857B-DBB522132B3D}"/>
              </a:ext>
            </a:extLst>
          </p:cNvPr>
          <p:cNvSpPr/>
          <p:nvPr/>
        </p:nvSpPr>
        <p:spPr>
          <a:xfrm>
            <a:off x="550593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3E41603-E20A-3564-6855-8F342EE18DB2}"/>
              </a:ext>
            </a:extLst>
          </p:cNvPr>
          <p:cNvSpPr/>
          <p:nvPr/>
        </p:nvSpPr>
        <p:spPr>
          <a:xfrm>
            <a:off x="550593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5D7B637-75DB-7E46-8FB1-3D9F90EDA81E}"/>
              </a:ext>
            </a:extLst>
          </p:cNvPr>
          <p:cNvSpPr/>
          <p:nvPr/>
        </p:nvSpPr>
        <p:spPr>
          <a:xfrm>
            <a:off x="550593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1F4FBC3-7F2C-7165-4296-1BFA09858CC6}"/>
              </a:ext>
            </a:extLst>
          </p:cNvPr>
          <p:cNvSpPr/>
          <p:nvPr/>
        </p:nvSpPr>
        <p:spPr>
          <a:xfrm>
            <a:off x="614682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006AE44-8BF0-4CC9-16E6-32C441A0D8EE}"/>
              </a:ext>
            </a:extLst>
          </p:cNvPr>
          <p:cNvSpPr/>
          <p:nvPr/>
        </p:nvSpPr>
        <p:spPr>
          <a:xfrm>
            <a:off x="614682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5FD4E0A-F867-F692-AF67-52B0E82FCF99}"/>
              </a:ext>
            </a:extLst>
          </p:cNvPr>
          <p:cNvSpPr/>
          <p:nvPr/>
        </p:nvSpPr>
        <p:spPr>
          <a:xfrm>
            <a:off x="614682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6D70AD1-C07F-68B7-BE3D-2D400487C5C0}"/>
              </a:ext>
            </a:extLst>
          </p:cNvPr>
          <p:cNvSpPr/>
          <p:nvPr/>
        </p:nvSpPr>
        <p:spPr>
          <a:xfrm>
            <a:off x="614682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122A364-00DC-1CDE-17CD-8732C18F8193}"/>
              </a:ext>
            </a:extLst>
          </p:cNvPr>
          <p:cNvSpPr/>
          <p:nvPr/>
        </p:nvSpPr>
        <p:spPr>
          <a:xfrm>
            <a:off x="614682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5922131-4802-D77A-3CBC-F54F8EE62632}"/>
              </a:ext>
            </a:extLst>
          </p:cNvPr>
          <p:cNvSpPr/>
          <p:nvPr/>
        </p:nvSpPr>
        <p:spPr>
          <a:xfrm>
            <a:off x="678771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67852B2-5B86-1DE9-0C43-8F54A72C4249}"/>
              </a:ext>
            </a:extLst>
          </p:cNvPr>
          <p:cNvSpPr/>
          <p:nvPr/>
        </p:nvSpPr>
        <p:spPr>
          <a:xfrm>
            <a:off x="678771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CD6A56D-F9DA-F943-ED5D-7BEFDB4B1623}"/>
              </a:ext>
            </a:extLst>
          </p:cNvPr>
          <p:cNvSpPr/>
          <p:nvPr/>
        </p:nvSpPr>
        <p:spPr>
          <a:xfrm>
            <a:off x="678771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9ACFB04-FAC6-6C90-98B4-6609D1A4DBDD}"/>
              </a:ext>
            </a:extLst>
          </p:cNvPr>
          <p:cNvSpPr/>
          <p:nvPr/>
        </p:nvSpPr>
        <p:spPr>
          <a:xfrm>
            <a:off x="678771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9DF6D9C-573A-AA8F-A48A-5B7AA81D5C13}"/>
              </a:ext>
            </a:extLst>
          </p:cNvPr>
          <p:cNvSpPr/>
          <p:nvPr/>
        </p:nvSpPr>
        <p:spPr>
          <a:xfrm>
            <a:off x="678771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B2BCCE-198C-6F32-5291-BD39598A6E42}"/>
              </a:ext>
            </a:extLst>
          </p:cNvPr>
          <p:cNvSpPr/>
          <p:nvPr/>
        </p:nvSpPr>
        <p:spPr>
          <a:xfrm>
            <a:off x="742860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A1360C3-6DB6-6419-23A2-905256FCEADF}"/>
              </a:ext>
            </a:extLst>
          </p:cNvPr>
          <p:cNvSpPr/>
          <p:nvPr/>
        </p:nvSpPr>
        <p:spPr>
          <a:xfrm>
            <a:off x="742860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D2771E0-3271-3716-FD3F-830AA7E4E254}"/>
              </a:ext>
            </a:extLst>
          </p:cNvPr>
          <p:cNvSpPr/>
          <p:nvPr/>
        </p:nvSpPr>
        <p:spPr>
          <a:xfrm>
            <a:off x="742860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6339CA3-0A74-9A58-84FC-E014CDA8E842}"/>
              </a:ext>
            </a:extLst>
          </p:cNvPr>
          <p:cNvSpPr/>
          <p:nvPr/>
        </p:nvSpPr>
        <p:spPr>
          <a:xfrm>
            <a:off x="742860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6244CE-E4DB-0D67-63E6-CBB1B402F941}"/>
              </a:ext>
            </a:extLst>
          </p:cNvPr>
          <p:cNvSpPr/>
          <p:nvPr/>
        </p:nvSpPr>
        <p:spPr>
          <a:xfrm>
            <a:off x="742860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4B07F3E-ED81-794B-5921-8ED67D944A85}"/>
              </a:ext>
            </a:extLst>
          </p:cNvPr>
          <p:cNvSpPr/>
          <p:nvPr/>
        </p:nvSpPr>
        <p:spPr>
          <a:xfrm>
            <a:off x="806949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6715AE1-59B3-D3B2-189C-51055414585D}"/>
              </a:ext>
            </a:extLst>
          </p:cNvPr>
          <p:cNvSpPr/>
          <p:nvPr/>
        </p:nvSpPr>
        <p:spPr>
          <a:xfrm>
            <a:off x="806949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33D3E72-1F16-006A-A65B-78C98DD78F5A}"/>
              </a:ext>
            </a:extLst>
          </p:cNvPr>
          <p:cNvSpPr/>
          <p:nvPr/>
        </p:nvSpPr>
        <p:spPr>
          <a:xfrm>
            <a:off x="806949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015C487-FAF1-E40A-268E-A9A8A03AB287}"/>
              </a:ext>
            </a:extLst>
          </p:cNvPr>
          <p:cNvSpPr/>
          <p:nvPr/>
        </p:nvSpPr>
        <p:spPr>
          <a:xfrm>
            <a:off x="806949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A9B3359-0EA3-67C1-405A-292E60CDEF45}"/>
              </a:ext>
            </a:extLst>
          </p:cNvPr>
          <p:cNvSpPr/>
          <p:nvPr/>
        </p:nvSpPr>
        <p:spPr>
          <a:xfrm>
            <a:off x="806949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D60B9D9-FA04-A7C9-0312-2B6818462825}"/>
              </a:ext>
            </a:extLst>
          </p:cNvPr>
          <p:cNvSpPr txBox="1"/>
          <p:nvPr/>
        </p:nvSpPr>
        <p:spPr>
          <a:xfrm>
            <a:off x="5851481" y="5948017"/>
            <a:ext cx="261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ausal mask's output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AD1DBB36-52E6-90D4-87F3-CC9D200DCB5F}"/>
              </a:ext>
            </a:extLst>
          </p:cNvPr>
          <p:cNvCxnSpPr>
            <a:cxnSpLocks/>
          </p:cNvCxnSpPr>
          <p:nvPr/>
        </p:nvCxnSpPr>
        <p:spPr>
          <a:xfrm>
            <a:off x="5505938" y="3061383"/>
            <a:ext cx="3185352" cy="292358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3204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5" grpId="0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E3CFD-1506-7923-8568-BA147306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B2519-4680-7E4E-6799-CD7FCE47820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eating mask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C38D16-A82B-694E-86A3-04766412DA18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93277D-AC8E-E7BE-BFAA-24367E3C34B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76469-3D47-F275-9DC7-0AC1E389B43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k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2A0973-2276-0199-9BE2-2FF2D9742EF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2D8D45-0A4A-D0A2-4816-EDAA4EBF999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0ED95FE-A078-E285-066C-CAD92DA80FB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68F752-4F8D-A2D1-4B58-F5FDAA617D15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9B638B-50CD-CABC-B3D1-F70D4E6DA7F7}"/>
              </a:ext>
            </a:extLst>
          </p:cNvPr>
          <p:cNvSpPr txBox="1"/>
          <p:nvPr/>
        </p:nvSpPr>
        <p:spPr>
          <a:xfrm>
            <a:off x="295541" y="1204946"/>
            <a:ext cx="11662161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 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iu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one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agonal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y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0778888-A974-9F85-9FBB-ACAA231D2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39E0A942-BC14-F32D-FAD6-CB82042E737F}"/>
              </a:ext>
            </a:extLst>
          </p:cNvPr>
          <p:cNvSpPr/>
          <p:nvPr/>
        </p:nvSpPr>
        <p:spPr>
          <a:xfrm>
            <a:off x="550593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06DB767-97F1-B27A-EAE5-7719ED259CEC}"/>
              </a:ext>
            </a:extLst>
          </p:cNvPr>
          <p:cNvSpPr/>
          <p:nvPr/>
        </p:nvSpPr>
        <p:spPr>
          <a:xfrm>
            <a:off x="550593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E9F8A9C-FA51-3B00-857B-DBB522132B3D}"/>
              </a:ext>
            </a:extLst>
          </p:cNvPr>
          <p:cNvSpPr/>
          <p:nvPr/>
        </p:nvSpPr>
        <p:spPr>
          <a:xfrm>
            <a:off x="550593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3E41603-E20A-3564-6855-8F342EE18DB2}"/>
              </a:ext>
            </a:extLst>
          </p:cNvPr>
          <p:cNvSpPr/>
          <p:nvPr/>
        </p:nvSpPr>
        <p:spPr>
          <a:xfrm>
            <a:off x="550593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5D7B637-75DB-7E46-8FB1-3D9F90EDA81E}"/>
              </a:ext>
            </a:extLst>
          </p:cNvPr>
          <p:cNvSpPr/>
          <p:nvPr/>
        </p:nvSpPr>
        <p:spPr>
          <a:xfrm>
            <a:off x="550593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1F4FBC3-7F2C-7165-4296-1BFA09858CC6}"/>
              </a:ext>
            </a:extLst>
          </p:cNvPr>
          <p:cNvSpPr/>
          <p:nvPr/>
        </p:nvSpPr>
        <p:spPr>
          <a:xfrm>
            <a:off x="614682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006AE44-8BF0-4CC9-16E6-32C441A0D8EE}"/>
              </a:ext>
            </a:extLst>
          </p:cNvPr>
          <p:cNvSpPr/>
          <p:nvPr/>
        </p:nvSpPr>
        <p:spPr>
          <a:xfrm>
            <a:off x="614682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5FD4E0A-F867-F692-AF67-52B0E82FCF99}"/>
              </a:ext>
            </a:extLst>
          </p:cNvPr>
          <p:cNvSpPr/>
          <p:nvPr/>
        </p:nvSpPr>
        <p:spPr>
          <a:xfrm>
            <a:off x="614682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6D70AD1-C07F-68B7-BE3D-2D400487C5C0}"/>
              </a:ext>
            </a:extLst>
          </p:cNvPr>
          <p:cNvSpPr/>
          <p:nvPr/>
        </p:nvSpPr>
        <p:spPr>
          <a:xfrm>
            <a:off x="614682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122A364-00DC-1CDE-17CD-8732C18F8193}"/>
              </a:ext>
            </a:extLst>
          </p:cNvPr>
          <p:cNvSpPr/>
          <p:nvPr/>
        </p:nvSpPr>
        <p:spPr>
          <a:xfrm>
            <a:off x="614682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5922131-4802-D77A-3CBC-F54F8EE62632}"/>
              </a:ext>
            </a:extLst>
          </p:cNvPr>
          <p:cNvSpPr/>
          <p:nvPr/>
        </p:nvSpPr>
        <p:spPr>
          <a:xfrm>
            <a:off x="678771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67852B2-5B86-1DE9-0C43-8F54A72C4249}"/>
              </a:ext>
            </a:extLst>
          </p:cNvPr>
          <p:cNvSpPr/>
          <p:nvPr/>
        </p:nvSpPr>
        <p:spPr>
          <a:xfrm>
            <a:off x="678771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CD6A56D-F9DA-F943-ED5D-7BEFDB4B1623}"/>
              </a:ext>
            </a:extLst>
          </p:cNvPr>
          <p:cNvSpPr/>
          <p:nvPr/>
        </p:nvSpPr>
        <p:spPr>
          <a:xfrm>
            <a:off x="678771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9ACFB04-FAC6-6C90-98B4-6609D1A4DBDD}"/>
              </a:ext>
            </a:extLst>
          </p:cNvPr>
          <p:cNvSpPr/>
          <p:nvPr/>
        </p:nvSpPr>
        <p:spPr>
          <a:xfrm>
            <a:off x="678771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9DF6D9C-573A-AA8F-A48A-5B7AA81D5C13}"/>
              </a:ext>
            </a:extLst>
          </p:cNvPr>
          <p:cNvSpPr/>
          <p:nvPr/>
        </p:nvSpPr>
        <p:spPr>
          <a:xfrm>
            <a:off x="678771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B2BCCE-198C-6F32-5291-BD39598A6E42}"/>
              </a:ext>
            </a:extLst>
          </p:cNvPr>
          <p:cNvSpPr/>
          <p:nvPr/>
        </p:nvSpPr>
        <p:spPr>
          <a:xfrm>
            <a:off x="742860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A1360C3-6DB6-6419-23A2-905256FCEADF}"/>
              </a:ext>
            </a:extLst>
          </p:cNvPr>
          <p:cNvSpPr/>
          <p:nvPr/>
        </p:nvSpPr>
        <p:spPr>
          <a:xfrm>
            <a:off x="742860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D2771E0-3271-3716-FD3F-830AA7E4E254}"/>
              </a:ext>
            </a:extLst>
          </p:cNvPr>
          <p:cNvSpPr/>
          <p:nvPr/>
        </p:nvSpPr>
        <p:spPr>
          <a:xfrm>
            <a:off x="742860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6339CA3-0A74-9A58-84FC-E014CDA8E842}"/>
              </a:ext>
            </a:extLst>
          </p:cNvPr>
          <p:cNvSpPr/>
          <p:nvPr/>
        </p:nvSpPr>
        <p:spPr>
          <a:xfrm>
            <a:off x="742860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6244CE-E4DB-0D67-63E6-CBB1B402F941}"/>
              </a:ext>
            </a:extLst>
          </p:cNvPr>
          <p:cNvSpPr/>
          <p:nvPr/>
        </p:nvSpPr>
        <p:spPr>
          <a:xfrm>
            <a:off x="742860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4B07F3E-ED81-794B-5921-8ED67D944A85}"/>
              </a:ext>
            </a:extLst>
          </p:cNvPr>
          <p:cNvSpPr/>
          <p:nvPr/>
        </p:nvSpPr>
        <p:spPr>
          <a:xfrm>
            <a:off x="806949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6715AE1-59B3-D3B2-189C-51055414585D}"/>
              </a:ext>
            </a:extLst>
          </p:cNvPr>
          <p:cNvSpPr/>
          <p:nvPr/>
        </p:nvSpPr>
        <p:spPr>
          <a:xfrm>
            <a:off x="806949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33D3E72-1F16-006A-A65B-78C98DD78F5A}"/>
              </a:ext>
            </a:extLst>
          </p:cNvPr>
          <p:cNvSpPr/>
          <p:nvPr/>
        </p:nvSpPr>
        <p:spPr>
          <a:xfrm>
            <a:off x="806949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015C487-FAF1-E40A-268E-A9A8A03AB287}"/>
              </a:ext>
            </a:extLst>
          </p:cNvPr>
          <p:cNvSpPr/>
          <p:nvPr/>
        </p:nvSpPr>
        <p:spPr>
          <a:xfrm>
            <a:off x="806949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A9B3359-0EA3-67C1-405A-292E60CDEF45}"/>
              </a:ext>
            </a:extLst>
          </p:cNvPr>
          <p:cNvSpPr/>
          <p:nvPr/>
        </p:nvSpPr>
        <p:spPr>
          <a:xfrm>
            <a:off x="806949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9085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3440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/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8A4D6A3-9B01-9485-EB12-E6598437E704}"/>
              </a:ext>
            </a:extLst>
          </p:cNvPr>
          <p:cNvSpPr txBox="1"/>
          <p:nvPr/>
        </p:nvSpPr>
        <p:spPr>
          <a:xfrm>
            <a:off x="6666259" y="2984611"/>
            <a:ext cx="5208241" cy="3693319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reated by Guido van Rossum and first released in 1991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A high-level, interpreted programming languag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mplicit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R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adabi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pports multiple programming paradig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ocedural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O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ject-oriented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F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nctional programm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E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xtensive standard librar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tive community contribute to a vast ecosystem of frameworks and tools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33E1A98-4AAB-8A0F-9E4D-5A2B6008A80F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7" name="Picture 6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8E1472CD-A078-9FDE-EB71-A521B1248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0" name="Picture 4" descr="Anaconda (Python distribution) - Wikipedia">
              <a:extLst>
                <a:ext uri="{FF2B5EF4-FFF2-40B4-BE49-F238E27FC236}">
                  <a16:creationId xmlns:a16="http://schemas.microsoft.com/office/drawing/2014/main" id="{43759035-1D2D-913A-EFF7-864EF68442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19866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E3CFD-1506-7923-8568-BA147306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B2519-4680-7E4E-6799-CD7FCE47820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eating mask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C38D16-A82B-694E-86A3-04766412DA18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93277D-AC8E-E7BE-BFAA-24367E3C34B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76469-3D47-F275-9DC7-0AC1E389B43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k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2A0973-2276-0199-9BE2-2FF2D9742EF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2D8D45-0A4A-D0A2-4816-EDAA4EBF999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0ED95FE-A078-E285-066C-CAD92DA80FB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68F752-4F8D-A2D1-4B58-F5FDAA617D15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9B638B-50CD-CABC-B3D1-F70D4E6DA7F7}"/>
              </a:ext>
            </a:extLst>
          </p:cNvPr>
          <p:cNvSpPr txBox="1"/>
          <p:nvPr/>
        </p:nvSpPr>
        <p:spPr>
          <a:xfrm>
            <a:off x="295541" y="1204946"/>
            <a:ext cx="11662161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 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iu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one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agonal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y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0778888-A974-9F85-9FBB-ACAA231D2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39E0A942-BC14-F32D-FAD6-CB82042E737F}"/>
              </a:ext>
            </a:extLst>
          </p:cNvPr>
          <p:cNvSpPr/>
          <p:nvPr/>
        </p:nvSpPr>
        <p:spPr>
          <a:xfrm>
            <a:off x="550593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06DB767-97F1-B27A-EAE5-7719ED259CEC}"/>
              </a:ext>
            </a:extLst>
          </p:cNvPr>
          <p:cNvSpPr/>
          <p:nvPr/>
        </p:nvSpPr>
        <p:spPr>
          <a:xfrm>
            <a:off x="550593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E9F8A9C-FA51-3B00-857B-DBB522132B3D}"/>
              </a:ext>
            </a:extLst>
          </p:cNvPr>
          <p:cNvSpPr/>
          <p:nvPr/>
        </p:nvSpPr>
        <p:spPr>
          <a:xfrm>
            <a:off x="550593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3E41603-E20A-3564-6855-8F342EE18DB2}"/>
              </a:ext>
            </a:extLst>
          </p:cNvPr>
          <p:cNvSpPr/>
          <p:nvPr/>
        </p:nvSpPr>
        <p:spPr>
          <a:xfrm>
            <a:off x="550593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5D7B637-75DB-7E46-8FB1-3D9F90EDA81E}"/>
              </a:ext>
            </a:extLst>
          </p:cNvPr>
          <p:cNvSpPr/>
          <p:nvPr/>
        </p:nvSpPr>
        <p:spPr>
          <a:xfrm>
            <a:off x="550593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1F4FBC3-7F2C-7165-4296-1BFA09858CC6}"/>
              </a:ext>
            </a:extLst>
          </p:cNvPr>
          <p:cNvSpPr/>
          <p:nvPr/>
        </p:nvSpPr>
        <p:spPr>
          <a:xfrm>
            <a:off x="614682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006AE44-8BF0-4CC9-16E6-32C441A0D8EE}"/>
              </a:ext>
            </a:extLst>
          </p:cNvPr>
          <p:cNvSpPr/>
          <p:nvPr/>
        </p:nvSpPr>
        <p:spPr>
          <a:xfrm>
            <a:off x="614682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5FD4E0A-F867-F692-AF67-52B0E82FCF99}"/>
              </a:ext>
            </a:extLst>
          </p:cNvPr>
          <p:cNvSpPr/>
          <p:nvPr/>
        </p:nvSpPr>
        <p:spPr>
          <a:xfrm>
            <a:off x="614682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6D70AD1-C07F-68B7-BE3D-2D400487C5C0}"/>
              </a:ext>
            </a:extLst>
          </p:cNvPr>
          <p:cNvSpPr/>
          <p:nvPr/>
        </p:nvSpPr>
        <p:spPr>
          <a:xfrm>
            <a:off x="614682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122A364-00DC-1CDE-17CD-8732C18F8193}"/>
              </a:ext>
            </a:extLst>
          </p:cNvPr>
          <p:cNvSpPr/>
          <p:nvPr/>
        </p:nvSpPr>
        <p:spPr>
          <a:xfrm>
            <a:off x="614682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5922131-4802-D77A-3CBC-F54F8EE62632}"/>
              </a:ext>
            </a:extLst>
          </p:cNvPr>
          <p:cNvSpPr/>
          <p:nvPr/>
        </p:nvSpPr>
        <p:spPr>
          <a:xfrm>
            <a:off x="678771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67852B2-5B86-1DE9-0C43-8F54A72C4249}"/>
              </a:ext>
            </a:extLst>
          </p:cNvPr>
          <p:cNvSpPr/>
          <p:nvPr/>
        </p:nvSpPr>
        <p:spPr>
          <a:xfrm>
            <a:off x="678771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CD6A56D-F9DA-F943-ED5D-7BEFDB4B1623}"/>
              </a:ext>
            </a:extLst>
          </p:cNvPr>
          <p:cNvSpPr/>
          <p:nvPr/>
        </p:nvSpPr>
        <p:spPr>
          <a:xfrm>
            <a:off x="678771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9ACFB04-FAC6-6C90-98B4-6609D1A4DBDD}"/>
              </a:ext>
            </a:extLst>
          </p:cNvPr>
          <p:cNvSpPr/>
          <p:nvPr/>
        </p:nvSpPr>
        <p:spPr>
          <a:xfrm>
            <a:off x="678771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9DF6D9C-573A-AA8F-A48A-5B7AA81D5C13}"/>
              </a:ext>
            </a:extLst>
          </p:cNvPr>
          <p:cNvSpPr/>
          <p:nvPr/>
        </p:nvSpPr>
        <p:spPr>
          <a:xfrm>
            <a:off x="678771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B2BCCE-198C-6F32-5291-BD39598A6E42}"/>
              </a:ext>
            </a:extLst>
          </p:cNvPr>
          <p:cNvSpPr/>
          <p:nvPr/>
        </p:nvSpPr>
        <p:spPr>
          <a:xfrm>
            <a:off x="742860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A1360C3-6DB6-6419-23A2-905256FCEADF}"/>
              </a:ext>
            </a:extLst>
          </p:cNvPr>
          <p:cNvSpPr/>
          <p:nvPr/>
        </p:nvSpPr>
        <p:spPr>
          <a:xfrm>
            <a:off x="742860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D2771E0-3271-3716-FD3F-830AA7E4E254}"/>
              </a:ext>
            </a:extLst>
          </p:cNvPr>
          <p:cNvSpPr/>
          <p:nvPr/>
        </p:nvSpPr>
        <p:spPr>
          <a:xfrm>
            <a:off x="742860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6339CA3-0A74-9A58-84FC-E014CDA8E842}"/>
              </a:ext>
            </a:extLst>
          </p:cNvPr>
          <p:cNvSpPr/>
          <p:nvPr/>
        </p:nvSpPr>
        <p:spPr>
          <a:xfrm>
            <a:off x="742860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6244CE-E4DB-0D67-63E6-CBB1B402F941}"/>
              </a:ext>
            </a:extLst>
          </p:cNvPr>
          <p:cNvSpPr/>
          <p:nvPr/>
        </p:nvSpPr>
        <p:spPr>
          <a:xfrm>
            <a:off x="742860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4B07F3E-ED81-794B-5921-8ED67D944A85}"/>
              </a:ext>
            </a:extLst>
          </p:cNvPr>
          <p:cNvSpPr/>
          <p:nvPr/>
        </p:nvSpPr>
        <p:spPr>
          <a:xfrm>
            <a:off x="806949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6715AE1-59B3-D3B2-189C-51055414585D}"/>
              </a:ext>
            </a:extLst>
          </p:cNvPr>
          <p:cNvSpPr/>
          <p:nvPr/>
        </p:nvSpPr>
        <p:spPr>
          <a:xfrm>
            <a:off x="806949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33D3E72-1F16-006A-A65B-78C98DD78F5A}"/>
              </a:ext>
            </a:extLst>
          </p:cNvPr>
          <p:cNvSpPr/>
          <p:nvPr/>
        </p:nvSpPr>
        <p:spPr>
          <a:xfrm>
            <a:off x="806949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015C487-FAF1-E40A-268E-A9A8A03AB287}"/>
              </a:ext>
            </a:extLst>
          </p:cNvPr>
          <p:cNvSpPr/>
          <p:nvPr/>
        </p:nvSpPr>
        <p:spPr>
          <a:xfrm>
            <a:off x="806949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A9B3359-0EA3-67C1-405A-292E60CDEF45}"/>
              </a:ext>
            </a:extLst>
          </p:cNvPr>
          <p:cNvSpPr/>
          <p:nvPr/>
        </p:nvSpPr>
        <p:spPr>
          <a:xfrm>
            <a:off x="806949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768CA1E-5B85-2B29-A5F0-8BE64983FD94}"/>
              </a:ext>
            </a:extLst>
          </p:cNvPr>
          <p:cNvCxnSpPr>
            <a:cxnSpLocks/>
          </p:cNvCxnSpPr>
          <p:nvPr/>
        </p:nvCxnSpPr>
        <p:spPr>
          <a:xfrm>
            <a:off x="5505938" y="3061383"/>
            <a:ext cx="3185352" cy="292358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550610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E3CFD-1506-7923-8568-BA147306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B2519-4680-7E4E-6799-CD7FCE47820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eating mask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C38D16-A82B-694E-86A3-04766412DA18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93277D-AC8E-E7BE-BFAA-24367E3C34B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76469-3D47-F275-9DC7-0AC1E389B43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k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2A0973-2276-0199-9BE2-2FF2D9742EF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2D8D45-0A4A-D0A2-4816-EDAA4EBF999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0ED95FE-A078-E285-066C-CAD92DA80FB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68F752-4F8D-A2D1-4B58-F5FDAA617D15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9B638B-50CD-CABC-B3D1-F70D4E6DA7F7}"/>
              </a:ext>
            </a:extLst>
          </p:cNvPr>
          <p:cNvSpPr txBox="1"/>
          <p:nvPr/>
        </p:nvSpPr>
        <p:spPr>
          <a:xfrm>
            <a:off x="295541" y="1204946"/>
            <a:ext cx="11662161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 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iu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one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agonal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y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0778888-A974-9F85-9FBB-ACAA231D2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39E0A942-BC14-F32D-FAD6-CB82042E737F}"/>
              </a:ext>
            </a:extLst>
          </p:cNvPr>
          <p:cNvSpPr/>
          <p:nvPr/>
        </p:nvSpPr>
        <p:spPr>
          <a:xfrm>
            <a:off x="550593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06DB767-97F1-B27A-EAE5-7719ED259CEC}"/>
              </a:ext>
            </a:extLst>
          </p:cNvPr>
          <p:cNvSpPr/>
          <p:nvPr/>
        </p:nvSpPr>
        <p:spPr>
          <a:xfrm>
            <a:off x="550593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E9F8A9C-FA51-3B00-857B-DBB522132B3D}"/>
              </a:ext>
            </a:extLst>
          </p:cNvPr>
          <p:cNvSpPr/>
          <p:nvPr/>
        </p:nvSpPr>
        <p:spPr>
          <a:xfrm>
            <a:off x="550593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3E41603-E20A-3564-6855-8F342EE18DB2}"/>
              </a:ext>
            </a:extLst>
          </p:cNvPr>
          <p:cNvSpPr/>
          <p:nvPr/>
        </p:nvSpPr>
        <p:spPr>
          <a:xfrm>
            <a:off x="550593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5D7B637-75DB-7E46-8FB1-3D9F90EDA81E}"/>
              </a:ext>
            </a:extLst>
          </p:cNvPr>
          <p:cNvSpPr/>
          <p:nvPr/>
        </p:nvSpPr>
        <p:spPr>
          <a:xfrm>
            <a:off x="550593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1F4FBC3-7F2C-7165-4296-1BFA09858CC6}"/>
              </a:ext>
            </a:extLst>
          </p:cNvPr>
          <p:cNvSpPr/>
          <p:nvPr/>
        </p:nvSpPr>
        <p:spPr>
          <a:xfrm>
            <a:off x="614682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006AE44-8BF0-4CC9-16E6-32C441A0D8EE}"/>
              </a:ext>
            </a:extLst>
          </p:cNvPr>
          <p:cNvSpPr/>
          <p:nvPr/>
        </p:nvSpPr>
        <p:spPr>
          <a:xfrm>
            <a:off x="614682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5FD4E0A-F867-F692-AF67-52B0E82FCF99}"/>
              </a:ext>
            </a:extLst>
          </p:cNvPr>
          <p:cNvSpPr/>
          <p:nvPr/>
        </p:nvSpPr>
        <p:spPr>
          <a:xfrm>
            <a:off x="614682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6D70AD1-C07F-68B7-BE3D-2D400487C5C0}"/>
              </a:ext>
            </a:extLst>
          </p:cNvPr>
          <p:cNvSpPr/>
          <p:nvPr/>
        </p:nvSpPr>
        <p:spPr>
          <a:xfrm>
            <a:off x="614682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122A364-00DC-1CDE-17CD-8732C18F8193}"/>
              </a:ext>
            </a:extLst>
          </p:cNvPr>
          <p:cNvSpPr/>
          <p:nvPr/>
        </p:nvSpPr>
        <p:spPr>
          <a:xfrm>
            <a:off x="614682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5922131-4802-D77A-3CBC-F54F8EE62632}"/>
              </a:ext>
            </a:extLst>
          </p:cNvPr>
          <p:cNvSpPr/>
          <p:nvPr/>
        </p:nvSpPr>
        <p:spPr>
          <a:xfrm>
            <a:off x="678771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67852B2-5B86-1DE9-0C43-8F54A72C4249}"/>
              </a:ext>
            </a:extLst>
          </p:cNvPr>
          <p:cNvSpPr/>
          <p:nvPr/>
        </p:nvSpPr>
        <p:spPr>
          <a:xfrm>
            <a:off x="678771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CD6A56D-F9DA-F943-ED5D-7BEFDB4B1623}"/>
              </a:ext>
            </a:extLst>
          </p:cNvPr>
          <p:cNvSpPr/>
          <p:nvPr/>
        </p:nvSpPr>
        <p:spPr>
          <a:xfrm>
            <a:off x="678771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9ACFB04-FAC6-6C90-98B4-6609D1A4DBDD}"/>
              </a:ext>
            </a:extLst>
          </p:cNvPr>
          <p:cNvSpPr/>
          <p:nvPr/>
        </p:nvSpPr>
        <p:spPr>
          <a:xfrm>
            <a:off x="678771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9DF6D9C-573A-AA8F-A48A-5B7AA81D5C13}"/>
              </a:ext>
            </a:extLst>
          </p:cNvPr>
          <p:cNvSpPr/>
          <p:nvPr/>
        </p:nvSpPr>
        <p:spPr>
          <a:xfrm>
            <a:off x="678771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B2BCCE-198C-6F32-5291-BD39598A6E42}"/>
              </a:ext>
            </a:extLst>
          </p:cNvPr>
          <p:cNvSpPr/>
          <p:nvPr/>
        </p:nvSpPr>
        <p:spPr>
          <a:xfrm>
            <a:off x="742860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A1360C3-6DB6-6419-23A2-905256FCEADF}"/>
              </a:ext>
            </a:extLst>
          </p:cNvPr>
          <p:cNvSpPr/>
          <p:nvPr/>
        </p:nvSpPr>
        <p:spPr>
          <a:xfrm>
            <a:off x="742860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D2771E0-3271-3716-FD3F-830AA7E4E254}"/>
              </a:ext>
            </a:extLst>
          </p:cNvPr>
          <p:cNvSpPr/>
          <p:nvPr/>
        </p:nvSpPr>
        <p:spPr>
          <a:xfrm>
            <a:off x="742860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6339CA3-0A74-9A58-84FC-E014CDA8E842}"/>
              </a:ext>
            </a:extLst>
          </p:cNvPr>
          <p:cNvSpPr/>
          <p:nvPr/>
        </p:nvSpPr>
        <p:spPr>
          <a:xfrm>
            <a:off x="742860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6244CE-E4DB-0D67-63E6-CBB1B402F941}"/>
              </a:ext>
            </a:extLst>
          </p:cNvPr>
          <p:cNvSpPr/>
          <p:nvPr/>
        </p:nvSpPr>
        <p:spPr>
          <a:xfrm>
            <a:off x="742860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4B07F3E-ED81-794B-5921-8ED67D944A85}"/>
              </a:ext>
            </a:extLst>
          </p:cNvPr>
          <p:cNvSpPr/>
          <p:nvPr/>
        </p:nvSpPr>
        <p:spPr>
          <a:xfrm>
            <a:off x="806949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6715AE1-59B3-D3B2-189C-51055414585D}"/>
              </a:ext>
            </a:extLst>
          </p:cNvPr>
          <p:cNvSpPr/>
          <p:nvPr/>
        </p:nvSpPr>
        <p:spPr>
          <a:xfrm>
            <a:off x="806949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33D3E72-1F16-006A-A65B-78C98DD78F5A}"/>
              </a:ext>
            </a:extLst>
          </p:cNvPr>
          <p:cNvSpPr/>
          <p:nvPr/>
        </p:nvSpPr>
        <p:spPr>
          <a:xfrm>
            <a:off x="806949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015C487-FAF1-E40A-268E-A9A8A03AB287}"/>
              </a:ext>
            </a:extLst>
          </p:cNvPr>
          <p:cNvSpPr/>
          <p:nvPr/>
        </p:nvSpPr>
        <p:spPr>
          <a:xfrm>
            <a:off x="806949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A9B3359-0EA3-67C1-405A-292E60CDEF45}"/>
              </a:ext>
            </a:extLst>
          </p:cNvPr>
          <p:cNvSpPr/>
          <p:nvPr/>
        </p:nvSpPr>
        <p:spPr>
          <a:xfrm>
            <a:off x="806949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768CA1E-5B85-2B29-A5F0-8BE64983FD94}"/>
              </a:ext>
            </a:extLst>
          </p:cNvPr>
          <p:cNvCxnSpPr>
            <a:cxnSpLocks/>
          </p:cNvCxnSpPr>
          <p:nvPr/>
        </p:nvCxnSpPr>
        <p:spPr>
          <a:xfrm>
            <a:off x="5505938" y="3061383"/>
            <a:ext cx="3185352" cy="292358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042782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E3CFD-1506-7923-8568-BA147306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B2519-4680-7E4E-6799-CD7FCE47820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eating mask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C38D16-A82B-694E-86A3-04766412DA18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93277D-AC8E-E7BE-BFAA-24367E3C34B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76469-3D47-F275-9DC7-0AC1E389B43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k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2A0973-2276-0199-9BE2-2FF2D9742EF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2D8D45-0A4A-D0A2-4816-EDAA4EBF999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0ED95FE-A078-E285-066C-CAD92DA80FB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68F752-4F8D-A2D1-4B58-F5FDAA617D15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9B638B-50CD-CABC-B3D1-F70D4E6DA7F7}"/>
              </a:ext>
            </a:extLst>
          </p:cNvPr>
          <p:cNvSpPr txBox="1"/>
          <p:nvPr/>
        </p:nvSpPr>
        <p:spPr>
          <a:xfrm>
            <a:off x="295541" y="1204946"/>
            <a:ext cx="11662161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 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iu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one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)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iagonal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y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0778888-A974-9F85-9FBB-ACAA231D2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79974FC-0B07-8E48-1EC4-69103CD8FD81}"/>
              </a:ext>
            </a:extLst>
          </p:cNvPr>
          <p:cNvSpPr txBox="1"/>
          <p:nvPr/>
        </p:nvSpPr>
        <p:spPr>
          <a:xfrm>
            <a:off x="1979588" y="4363672"/>
            <a:ext cx="1521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chemeClr val="bg1"/>
                </a:solidFill>
              </a:rPr>
              <a:t>seq_len</a:t>
            </a:r>
            <a:r>
              <a:rPr lang="en-US" dirty="0">
                <a:solidFill>
                  <a:schemeClr val="bg1"/>
                </a:solidFill>
              </a:rPr>
              <a:t> = 5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1134007-E32C-D940-CD55-2E7661740367}"/>
              </a:ext>
            </a:extLst>
          </p:cNvPr>
          <p:cNvCxnSpPr/>
          <p:nvPr/>
        </p:nvCxnSpPr>
        <p:spPr>
          <a:xfrm>
            <a:off x="3856589" y="4548338"/>
            <a:ext cx="832104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3D41BB96-13A7-832C-98A4-468E34AEC7EE}"/>
              </a:ext>
            </a:extLst>
          </p:cNvPr>
          <p:cNvSpPr txBox="1"/>
          <p:nvPr/>
        </p:nvSpPr>
        <p:spPr>
          <a:xfrm>
            <a:off x="8691290" y="4343630"/>
            <a:ext cx="1521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(1, 5, 5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9E0A942-BC14-F32D-FAD6-CB82042E737F}"/>
              </a:ext>
            </a:extLst>
          </p:cNvPr>
          <p:cNvSpPr/>
          <p:nvPr/>
        </p:nvSpPr>
        <p:spPr>
          <a:xfrm>
            <a:off x="550593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06DB767-97F1-B27A-EAE5-7719ED259CEC}"/>
              </a:ext>
            </a:extLst>
          </p:cNvPr>
          <p:cNvSpPr/>
          <p:nvPr/>
        </p:nvSpPr>
        <p:spPr>
          <a:xfrm>
            <a:off x="550593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E9F8A9C-FA51-3B00-857B-DBB522132B3D}"/>
              </a:ext>
            </a:extLst>
          </p:cNvPr>
          <p:cNvSpPr/>
          <p:nvPr/>
        </p:nvSpPr>
        <p:spPr>
          <a:xfrm>
            <a:off x="550593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3E41603-E20A-3564-6855-8F342EE18DB2}"/>
              </a:ext>
            </a:extLst>
          </p:cNvPr>
          <p:cNvSpPr/>
          <p:nvPr/>
        </p:nvSpPr>
        <p:spPr>
          <a:xfrm>
            <a:off x="550593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5D7B637-75DB-7E46-8FB1-3D9F90EDA81E}"/>
              </a:ext>
            </a:extLst>
          </p:cNvPr>
          <p:cNvSpPr/>
          <p:nvPr/>
        </p:nvSpPr>
        <p:spPr>
          <a:xfrm>
            <a:off x="550593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1F4FBC3-7F2C-7165-4296-1BFA09858CC6}"/>
              </a:ext>
            </a:extLst>
          </p:cNvPr>
          <p:cNvSpPr/>
          <p:nvPr/>
        </p:nvSpPr>
        <p:spPr>
          <a:xfrm>
            <a:off x="614682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006AE44-8BF0-4CC9-16E6-32C441A0D8EE}"/>
              </a:ext>
            </a:extLst>
          </p:cNvPr>
          <p:cNvSpPr/>
          <p:nvPr/>
        </p:nvSpPr>
        <p:spPr>
          <a:xfrm>
            <a:off x="614682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5FD4E0A-F867-F692-AF67-52B0E82FCF99}"/>
              </a:ext>
            </a:extLst>
          </p:cNvPr>
          <p:cNvSpPr/>
          <p:nvPr/>
        </p:nvSpPr>
        <p:spPr>
          <a:xfrm>
            <a:off x="614682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6D70AD1-C07F-68B7-BE3D-2D400487C5C0}"/>
              </a:ext>
            </a:extLst>
          </p:cNvPr>
          <p:cNvSpPr/>
          <p:nvPr/>
        </p:nvSpPr>
        <p:spPr>
          <a:xfrm>
            <a:off x="614682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122A364-00DC-1CDE-17CD-8732C18F8193}"/>
              </a:ext>
            </a:extLst>
          </p:cNvPr>
          <p:cNvSpPr/>
          <p:nvPr/>
        </p:nvSpPr>
        <p:spPr>
          <a:xfrm>
            <a:off x="614682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5922131-4802-D77A-3CBC-F54F8EE62632}"/>
              </a:ext>
            </a:extLst>
          </p:cNvPr>
          <p:cNvSpPr/>
          <p:nvPr/>
        </p:nvSpPr>
        <p:spPr>
          <a:xfrm>
            <a:off x="678771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67852B2-5B86-1DE9-0C43-8F54A72C4249}"/>
              </a:ext>
            </a:extLst>
          </p:cNvPr>
          <p:cNvSpPr/>
          <p:nvPr/>
        </p:nvSpPr>
        <p:spPr>
          <a:xfrm>
            <a:off x="678771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CD6A56D-F9DA-F943-ED5D-7BEFDB4B1623}"/>
              </a:ext>
            </a:extLst>
          </p:cNvPr>
          <p:cNvSpPr/>
          <p:nvPr/>
        </p:nvSpPr>
        <p:spPr>
          <a:xfrm>
            <a:off x="678771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9ACFB04-FAC6-6C90-98B4-6609D1A4DBDD}"/>
              </a:ext>
            </a:extLst>
          </p:cNvPr>
          <p:cNvSpPr/>
          <p:nvPr/>
        </p:nvSpPr>
        <p:spPr>
          <a:xfrm>
            <a:off x="678771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9DF6D9C-573A-AA8F-A48A-5B7AA81D5C13}"/>
              </a:ext>
            </a:extLst>
          </p:cNvPr>
          <p:cNvSpPr/>
          <p:nvPr/>
        </p:nvSpPr>
        <p:spPr>
          <a:xfrm>
            <a:off x="678771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CB2BCCE-198C-6F32-5291-BD39598A6E42}"/>
              </a:ext>
            </a:extLst>
          </p:cNvPr>
          <p:cNvSpPr/>
          <p:nvPr/>
        </p:nvSpPr>
        <p:spPr>
          <a:xfrm>
            <a:off x="742860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A1360C3-6DB6-6419-23A2-905256FCEADF}"/>
              </a:ext>
            </a:extLst>
          </p:cNvPr>
          <p:cNvSpPr/>
          <p:nvPr/>
        </p:nvSpPr>
        <p:spPr>
          <a:xfrm>
            <a:off x="742860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D2771E0-3271-3716-FD3F-830AA7E4E254}"/>
              </a:ext>
            </a:extLst>
          </p:cNvPr>
          <p:cNvSpPr/>
          <p:nvPr/>
        </p:nvSpPr>
        <p:spPr>
          <a:xfrm>
            <a:off x="742860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6339CA3-0A74-9A58-84FC-E014CDA8E842}"/>
              </a:ext>
            </a:extLst>
          </p:cNvPr>
          <p:cNvSpPr/>
          <p:nvPr/>
        </p:nvSpPr>
        <p:spPr>
          <a:xfrm>
            <a:off x="742860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6244CE-E4DB-0D67-63E6-CBB1B402F941}"/>
              </a:ext>
            </a:extLst>
          </p:cNvPr>
          <p:cNvSpPr/>
          <p:nvPr/>
        </p:nvSpPr>
        <p:spPr>
          <a:xfrm>
            <a:off x="742860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4B07F3E-ED81-794B-5921-8ED67D944A85}"/>
              </a:ext>
            </a:extLst>
          </p:cNvPr>
          <p:cNvSpPr/>
          <p:nvPr/>
        </p:nvSpPr>
        <p:spPr>
          <a:xfrm>
            <a:off x="8069498" y="3636830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6715AE1-59B3-D3B2-189C-51055414585D}"/>
              </a:ext>
            </a:extLst>
          </p:cNvPr>
          <p:cNvSpPr/>
          <p:nvPr/>
        </p:nvSpPr>
        <p:spPr>
          <a:xfrm>
            <a:off x="8069498" y="4212277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33D3E72-1F16-006A-A65B-78C98DD78F5A}"/>
              </a:ext>
            </a:extLst>
          </p:cNvPr>
          <p:cNvSpPr/>
          <p:nvPr/>
        </p:nvSpPr>
        <p:spPr>
          <a:xfrm>
            <a:off x="8069498" y="4787724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015C487-FAF1-E40A-268E-A9A8A03AB287}"/>
              </a:ext>
            </a:extLst>
          </p:cNvPr>
          <p:cNvSpPr/>
          <p:nvPr/>
        </p:nvSpPr>
        <p:spPr>
          <a:xfrm>
            <a:off x="8069498" y="5363171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ru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A9B3359-0EA3-67C1-405A-292E60CDEF45}"/>
              </a:ext>
            </a:extLst>
          </p:cNvPr>
          <p:cNvSpPr/>
          <p:nvPr/>
        </p:nvSpPr>
        <p:spPr>
          <a:xfrm>
            <a:off x="8069498" y="3061383"/>
            <a:ext cx="621792" cy="6217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00"/>
                </a:solidFill>
              </a:rPr>
              <a:t>Fals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D60B9D9-FA04-A7C9-0312-2B6818462825}"/>
              </a:ext>
            </a:extLst>
          </p:cNvPr>
          <p:cNvSpPr txBox="1"/>
          <p:nvPr/>
        </p:nvSpPr>
        <p:spPr>
          <a:xfrm>
            <a:off x="5851481" y="5948017"/>
            <a:ext cx="261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ausal mask's output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AD1DBB36-52E6-90D4-87F3-CC9D200DCB5F}"/>
              </a:ext>
            </a:extLst>
          </p:cNvPr>
          <p:cNvCxnSpPr>
            <a:cxnSpLocks/>
          </p:cNvCxnSpPr>
          <p:nvPr/>
        </p:nvCxnSpPr>
        <p:spPr>
          <a:xfrm>
            <a:off x="5505938" y="3061383"/>
            <a:ext cx="3185352" cy="292358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405439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8E6A94-3192-8AD1-3804-2FC725DDF9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D2E6E43-083A-9378-7CE1-66985B08A3B4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682528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– Create causal mas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B53A3AF-E4E3-28D1-418F-2BFDA423B215}"/>
              </a:ext>
            </a:extLst>
          </p:cNvPr>
          <p:cNvSpPr/>
          <p:nvPr/>
        </p:nvSpPr>
        <p:spPr>
          <a:xfrm>
            <a:off x="88901" y="612774"/>
            <a:ext cx="12014197" cy="61595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073500-0E00-1AB6-7FD2-EFE528917933}"/>
              </a:ext>
            </a:extLst>
          </p:cNvPr>
          <p:cNvSpPr/>
          <p:nvPr/>
        </p:nvSpPr>
        <p:spPr>
          <a:xfrm>
            <a:off x="88900" y="612774"/>
            <a:ext cx="12014197" cy="46634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BAE63A4-FE0E-338F-6798-C174904713B5}"/>
              </a:ext>
            </a:extLst>
          </p:cNvPr>
          <p:cNvGrpSpPr/>
          <p:nvPr/>
        </p:nvGrpSpPr>
        <p:grpSpPr>
          <a:xfrm>
            <a:off x="320368" y="775952"/>
            <a:ext cx="653739" cy="170917"/>
            <a:chOff x="462204" y="914403"/>
            <a:chExt cx="653739" cy="170917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EFB9297-EB92-C2D6-9835-7F30A0A9F5A1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CCAABC4-B9B6-8D69-0B74-D8F425D26331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66016A6-3A62-4FBE-FF73-F1BE5D604168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DEAC90D-42FE-C9AC-05E7-4ACAA9B3B854}"/>
              </a:ext>
            </a:extLst>
          </p:cNvPr>
          <p:cNvSpPr txBox="1"/>
          <p:nvPr/>
        </p:nvSpPr>
        <p:spPr>
          <a:xfrm>
            <a:off x="150143" y="1168257"/>
            <a:ext cx="11952955" cy="36933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inputs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equence lengt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 causal mask # (1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ausal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E1E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ausal_mask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ausal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causal_mask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hape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ausal_mas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6B5ED1-CB0E-DDEF-06FB-BC9D8C3F36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0952" y="4311143"/>
            <a:ext cx="5401083" cy="1857385"/>
          </a:xfrm>
          <a:prstGeom prst="rect">
            <a:avLst/>
          </a:prstGeom>
          <a:ln>
            <a:solidFill>
              <a:srgbClr val="00B050"/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2DBD91-CAC3-033C-9722-15AA1E517C75}"/>
              </a:ext>
            </a:extLst>
          </p:cNvPr>
          <p:cNvSpPr/>
          <p:nvPr/>
        </p:nvSpPr>
        <p:spPr>
          <a:xfrm>
            <a:off x="1236914" y="622123"/>
            <a:ext cx="3070166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mask.ipynb</a:t>
            </a:r>
            <a:endParaRPr lang="en-US" dirty="0"/>
          </a:p>
        </p:txBody>
      </p:sp>
      <p:pic>
        <p:nvPicPr>
          <p:cNvPr id="10" name="Picture 2" descr="Project Jupyter - Wikipedia">
            <a:extLst>
              <a:ext uri="{FF2B5EF4-FFF2-40B4-BE49-F238E27FC236}">
                <a16:creationId xmlns:a16="http://schemas.microsoft.com/office/drawing/2014/main" id="{E033F704-2481-1D2B-604F-8315E8C6BF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368" y="6478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237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8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9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9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5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8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3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40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78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12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6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883607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E3CFD-1506-7923-8568-BA147306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B2519-4680-7E4E-6799-CD7FCE47820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eating mask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C38D16-A82B-694E-86A3-04766412DA18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93277D-AC8E-E7BE-BFAA-24367E3C34B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76469-3D47-F275-9DC7-0AC1E389B43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k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2A0973-2276-0199-9BE2-2FF2D9742EF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2D8D45-0A4A-D0A2-4816-EDAA4EBF999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0ED95FE-A078-E285-066C-CAD92DA80FB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68F752-4F8D-A2D1-4B58-F5FDAA617D15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9B638B-50CD-CABC-B3D1-F70D4E6DA7F7}"/>
              </a:ext>
            </a:extLst>
          </p:cNvPr>
          <p:cNvSpPr txBox="1"/>
          <p:nvPr/>
        </p:nvSpPr>
        <p:spPr>
          <a:xfrm>
            <a:off x="295541" y="1204946"/>
            <a:ext cx="11662161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decoder_mask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padding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ausal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ausal_mas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0778888-A974-9F85-9FBB-ACAA231D2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5182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35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3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E3CFD-1506-7923-8568-BA147306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B2519-4680-7E4E-6799-CD7FCE47820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eating mask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C38D16-A82B-694E-86A3-04766412DA18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93277D-AC8E-E7BE-BFAA-24367E3C34B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76469-3D47-F275-9DC7-0AC1E389B43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k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2A0973-2276-0199-9BE2-2FF2D9742EF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2D8D45-0A4A-D0A2-4816-EDAA4EBF999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0ED95FE-A078-E285-066C-CAD92DA80FB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68F752-4F8D-A2D1-4B58-F5FDAA617D15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9B638B-50CD-CABC-B3D1-F70D4E6DA7F7}"/>
              </a:ext>
            </a:extLst>
          </p:cNvPr>
          <p:cNvSpPr txBox="1"/>
          <p:nvPr/>
        </p:nvSpPr>
        <p:spPr>
          <a:xfrm>
            <a:off x="295541" y="1204946"/>
            <a:ext cx="11662161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decoder_mask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padding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ausal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ausal_mas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0778888-A974-9F85-9FBB-ACAA231D2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3" name="Group 142">
            <a:extLst>
              <a:ext uri="{FF2B5EF4-FFF2-40B4-BE49-F238E27FC236}">
                <a16:creationId xmlns:a16="http://schemas.microsoft.com/office/drawing/2014/main" id="{AE87326C-0D14-7F78-EE18-7D8A62031140}"/>
              </a:ext>
            </a:extLst>
          </p:cNvPr>
          <p:cNvGrpSpPr/>
          <p:nvPr/>
        </p:nvGrpSpPr>
        <p:grpSpPr>
          <a:xfrm>
            <a:off x="610707" y="3264597"/>
            <a:ext cx="2811251" cy="472867"/>
            <a:chOff x="610707" y="3264597"/>
            <a:chExt cx="2811251" cy="47286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7102FEA-8F48-9015-C061-B0B4D4569B9E}"/>
                </a:ext>
              </a:extLst>
            </p:cNvPr>
            <p:cNvSpPr/>
            <p:nvPr/>
          </p:nvSpPr>
          <p:spPr>
            <a:xfrm>
              <a:off x="1186912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8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E5B8602-EDFE-E47E-D44F-3D26AA4A533D}"/>
                </a:ext>
              </a:extLst>
            </p:cNvPr>
            <p:cNvSpPr/>
            <p:nvPr/>
          </p:nvSpPr>
          <p:spPr>
            <a:xfrm>
              <a:off x="610707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F1923B4-9848-E614-4B51-363DEE4D19C3}"/>
                </a:ext>
              </a:extLst>
            </p:cNvPr>
            <p:cNvSpPr/>
            <p:nvPr/>
          </p:nvSpPr>
          <p:spPr>
            <a:xfrm>
              <a:off x="1763117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72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605BBD6-8611-08CF-02E6-0721143565DF}"/>
                </a:ext>
              </a:extLst>
            </p:cNvPr>
            <p:cNvSpPr/>
            <p:nvPr/>
          </p:nvSpPr>
          <p:spPr>
            <a:xfrm>
              <a:off x="2339322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13DCC8B-C8A8-BC20-E72F-D5C7A8C0D4F6}"/>
                </a:ext>
              </a:extLst>
            </p:cNvPr>
            <p:cNvSpPr/>
            <p:nvPr/>
          </p:nvSpPr>
          <p:spPr>
            <a:xfrm>
              <a:off x="2915527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</p:grp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CC5C9D5-F32C-6BFA-3EA7-F7DF613EB03A}"/>
              </a:ext>
            </a:extLst>
          </p:cNvPr>
          <p:cNvCxnSpPr>
            <a:cxnSpLocks/>
          </p:cNvCxnSpPr>
          <p:nvPr/>
        </p:nvCxnSpPr>
        <p:spPr>
          <a:xfrm>
            <a:off x="2028419" y="4473490"/>
            <a:ext cx="0" cy="368867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032C20D1-7D00-8A58-DDA5-B77342681681}"/>
              </a:ext>
            </a:extLst>
          </p:cNvPr>
          <p:cNvGrpSpPr/>
          <p:nvPr/>
        </p:nvGrpSpPr>
        <p:grpSpPr>
          <a:xfrm>
            <a:off x="610707" y="4969495"/>
            <a:ext cx="2811251" cy="472867"/>
            <a:chOff x="610707" y="4969495"/>
            <a:chExt cx="2811251" cy="472867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B3F9A34-55EE-4D73-7B8C-138B0421732F}"/>
                </a:ext>
              </a:extLst>
            </p:cNvPr>
            <p:cNvSpPr/>
            <p:nvPr/>
          </p:nvSpPr>
          <p:spPr>
            <a:xfrm>
              <a:off x="1186912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0E80B55-5E2C-C9D0-D10E-BD4D6E8EAEB8}"/>
                </a:ext>
              </a:extLst>
            </p:cNvPr>
            <p:cNvSpPr/>
            <p:nvPr/>
          </p:nvSpPr>
          <p:spPr>
            <a:xfrm>
              <a:off x="610707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A96C5F-3AC9-FC5D-5B50-4E5D7FCCA776}"/>
                </a:ext>
              </a:extLst>
            </p:cNvPr>
            <p:cNvSpPr/>
            <p:nvPr/>
          </p:nvSpPr>
          <p:spPr>
            <a:xfrm>
              <a:off x="1763117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DF293F-405A-F0F4-420F-47D4E5F99C07}"/>
                </a:ext>
              </a:extLst>
            </p:cNvPr>
            <p:cNvSpPr/>
            <p:nvPr/>
          </p:nvSpPr>
          <p:spPr>
            <a:xfrm>
              <a:off x="2339322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0573322-CD64-5636-2924-7B370890ACA2}"/>
                </a:ext>
              </a:extLst>
            </p:cNvPr>
            <p:cNvSpPr/>
            <p:nvPr/>
          </p:nvSpPr>
          <p:spPr>
            <a:xfrm>
              <a:off x="2915527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</p:grpSp>
      <p:sp>
        <p:nvSpPr>
          <p:cNvPr id="26" name="Left Brace 25">
            <a:extLst>
              <a:ext uri="{FF2B5EF4-FFF2-40B4-BE49-F238E27FC236}">
                <a16:creationId xmlns:a16="http://schemas.microsoft.com/office/drawing/2014/main" id="{3678208D-3DC2-25B5-DFCB-2E82100C75C1}"/>
              </a:ext>
            </a:extLst>
          </p:cNvPr>
          <p:cNvSpPr/>
          <p:nvPr/>
        </p:nvSpPr>
        <p:spPr>
          <a:xfrm rot="16200000">
            <a:off x="1969962" y="2815271"/>
            <a:ext cx="92744" cy="2304823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Left Brace 26">
            <a:extLst>
              <a:ext uri="{FF2B5EF4-FFF2-40B4-BE49-F238E27FC236}">
                <a16:creationId xmlns:a16="http://schemas.microsoft.com/office/drawing/2014/main" id="{30D89F25-5627-4716-DCB9-C260AE68136A}"/>
              </a:ext>
            </a:extLst>
          </p:cNvPr>
          <p:cNvSpPr/>
          <p:nvPr/>
        </p:nvSpPr>
        <p:spPr>
          <a:xfrm rot="16200000">
            <a:off x="1969963" y="4520170"/>
            <a:ext cx="92746" cy="2304825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9B51AEE-D33C-C3C0-DBB8-25410950E335}"/>
              </a:ext>
            </a:extLst>
          </p:cNvPr>
          <p:cNvSpPr txBox="1"/>
          <p:nvPr/>
        </p:nvSpPr>
        <p:spPr>
          <a:xfrm>
            <a:off x="834531" y="4018270"/>
            <a:ext cx="22069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coder input id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527369A-9632-811A-31B2-6DD57CE50211}"/>
              </a:ext>
            </a:extLst>
          </p:cNvPr>
          <p:cNvSpPr txBox="1"/>
          <p:nvPr/>
        </p:nvSpPr>
        <p:spPr>
          <a:xfrm>
            <a:off x="707176" y="5718137"/>
            <a:ext cx="261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adding mask's output</a:t>
            </a:r>
          </a:p>
        </p:txBody>
      </p:sp>
    </p:spTree>
    <p:extLst>
      <p:ext uri="{BB962C8B-B14F-4D97-AF65-F5344CB8AC3E}">
        <p14:creationId xmlns:p14="http://schemas.microsoft.com/office/powerpoint/2010/main" val="3904465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/>
      <p:bldP spid="29" grpId="0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E3CFD-1506-7923-8568-BA147306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B2519-4680-7E4E-6799-CD7FCE47820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eating mask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C38D16-A82B-694E-86A3-04766412DA18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93277D-AC8E-E7BE-BFAA-24367E3C34B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76469-3D47-F275-9DC7-0AC1E389B43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k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2A0973-2276-0199-9BE2-2FF2D9742EF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2D8D45-0A4A-D0A2-4816-EDAA4EBF999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0ED95FE-A078-E285-066C-CAD92DA80FB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68F752-4F8D-A2D1-4B58-F5FDAA617D15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9B638B-50CD-CABC-B3D1-F70D4E6DA7F7}"/>
              </a:ext>
            </a:extLst>
          </p:cNvPr>
          <p:cNvSpPr txBox="1"/>
          <p:nvPr/>
        </p:nvSpPr>
        <p:spPr>
          <a:xfrm>
            <a:off x="295541" y="1204946"/>
            <a:ext cx="11662161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decoder_mask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padding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ausal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ausal_mas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0778888-A974-9F85-9FBB-ACAA231D2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3" name="Group 142">
            <a:extLst>
              <a:ext uri="{FF2B5EF4-FFF2-40B4-BE49-F238E27FC236}">
                <a16:creationId xmlns:a16="http://schemas.microsoft.com/office/drawing/2014/main" id="{AE87326C-0D14-7F78-EE18-7D8A62031140}"/>
              </a:ext>
            </a:extLst>
          </p:cNvPr>
          <p:cNvGrpSpPr/>
          <p:nvPr/>
        </p:nvGrpSpPr>
        <p:grpSpPr>
          <a:xfrm>
            <a:off x="610707" y="3264597"/>
            <a:ext cx="2811251" cy="472867"/>
            <a:chOff x="610707" y="3264597"/>
            <a:chExt cx="2811251" cy="47286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7102FEA-8F48-9015-C061-B0B4D4569B9E}"/>
                </a:ext>
              </a:extLst>
            </p:cNvPr>
            <p:cNvSpPr/>
            <p:nvPr/>
          </p:nvSpPr>
          <p:spPr>
            <a:xfrm>
              <a:off x="1186912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8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E5B8602-EDFE-E47E-D44F-3D26AA4A533D}"/>
                </a:ext>
              </a:extLst>
            </p:cNvPr>
            <p:cNvSpPr/>
            <p:nvPr/>
          </p:nvSpPr>
          <p:spPr>
            <a:xfrm>
              <a:off x="610707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F1923B4-9848-E614-4B51-363DEE4D19C3}"/>
                </a:ext>
              </a:extLst>
            </p:cNvPr>
            <p:cNvSpPr/>
            <p:nvPr/>
          </p:nvSpPr>
          <p:spPr>
            <a:xfrm>
              <a:off x="1763117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72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605BBD6-8611-08CF-02E6-0721143565DF}"/>
                </a:ext>
              </a:extLst>
            </p:cNvPr>
            <p:cNvSpPr/>
            <p:nvPr/>
          </p:nvSpPr>
          <p:spPr>
            <a:xfrm>
              <a:off x="2339322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13DCC8B-C8A8-BC20-E72F-D5C7A8C0D4F6}"/>
                </a:ext>
              </a:extLst>
            </p:cNvPr>
            <p:cNvSpPr/>
            <p:nvPr/>
          </p:nvSpPr>
          <p:spPr>
            <a:xfrm>
              <a:off x="2915527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</p:grp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CC5C9D5-F32C-6BFA-3EA7-F7DF613EB03A}"/>
              </a:ext>
            </a:extLst>
          </p:cNvPr>
          <p:cNvCxnSpPr>
            <a:cxnSpLocks/>
          </p:cNvCxnSpPr>
          <p:nvPr/>
        </p:nvCxnSpPr>
        <p:spPr>
          <a:xfrm>
            <a:off x="2028419" y="4473490"/>
            <a:ext cx="0" cy="368867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032C20D1-7D00-8A58-DDA5-B77342681681}"/>
              </a:ext>
            </a:extLst>
          </p:cNvPr>
          <p:cNvGrpSpPr/>
          <p:nvPr/>
        </p:nvGrpSpPr>
        <p:grpSpPr>
          <a:xfrm>
            <a:off x="610707" y="4969495"/>
            <a:ext cx="2811251" cy="472867"/>
            <a:chOff x="610707" y="4969495"/>
            <a:chExt cx="2811251" cy="472867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B3F9A34-55EE-4D73-7B8C-138B0421732F}"/>
                </a:ext>
              </a:extLst>
            </p:cNvPr>
            <p:cNvSpPr/>
            <p:nvPr/>
          </p:nvSpPr>
          <p:spPr>
            <a:xfrm>
              <a:off x="1186912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0E80B55-5E2C-C9D0-D10E-BD4D6E8EAEB8}"/>
                </a:ext>
              </a:extLst>
            </p:cNvPr>
            <p:cNvSpPr/>
            <p:nvPr/>
          </p:nvSpPr>
          <p:spPr>
            <a:xfrm>
              <a:off x="610707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A96C5F-3AC9-FC5D-5B50-4E5D7FCCA776}"/>
                </a:ext>
              </a:extLst>
            </p:cNvPr>
            <p:cNvSpPr/>
            <p:nvPr/>
          </p:nvSpPr>
          <p:spPr>
            <a:xfrm>
              <a:off x="1763117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DF293F-405A-F0F4-420F-47D4E5F99C07}"/>
                </a:ext>
              </a:extLst>
            </p:cNvPr>
            <p:cNvSpPr/>
            <p:nvPr/>
          </p:nvSpPr>
          <p:spPr>
            <a:xfrm>
              <a:off x="2339322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0573322-CD64-5636-2924-7B370890ACA2}"/>
                </a:ext>
              </a:extLst>
            </p:cNvPr>
            <p:cNvSpPr/>
            <p:nvPr/>
          </p:nvSpPr>
          <p:spPr>
            <a:xfrm>
              <a:off x="2915527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</p:grpSp>
      <p:sp>
        <p:nvSpPr>
          <p:cNvPr id="26" name="Left Brace 25">
            <a:extLst>
              <a:ext uri="{FF2B5EF4-FFF2-40B4-BE49-F238E27FC236}">
                <a16:creationId xmlns:a16="http://schemas.microsoft.com/office/drawing/2014/main" id="{3678208D-3DC2-25B5-DFCB-2E82100C75C1}"/>
              </a:ext>
            </a:extLst>
          </p:cNvPr>
          <p:cNvSpPr/>
          <p:nvPr/>
        </p:nvSpPr>
        <p:spPr>
          <a:xfrm rot="16200000">
            <a:off x="1969962" y="2815271"/>
            <a:ext cx="92744" cy="2304823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Left Brace 26">
            <a:extLst>
              <a:ext uri="{FF2B5EF4-FFF2-40B4-BE49-F238E27FC236}">
                <a16:creationId xmlns:a16="http://schemas.microsoft.com/office/drawing/2014/main" id="{30D89F25-5627-4716-DCB9-C260AE68136A}"/>
              </a:ext>
            </a:extLst>
          </p:cNvPr>
          <p:cNvSpPr/>
          <p:nvPr/>
        </p:nvSpPr>
        <p:spPr>
          <a:xfrm rot="16200000">
            <a:off x="1969963" y="4520170"/>
            <a:ext cx="92746" cy="2304825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9B51AEE-D33C-C3C0-DBB8-25410950E335}"/>
              </a:ext>
            </a:extLst>
          </p:cNvPr>
          <p:cNvSpPr txBox="1"/>
          <p:nvPr/>
        </p:nvSpPr>
        <p:spPr>
          <a:xfrm>
            <a:off x="834531" y="4018270"/>
            <a:ext cx="22069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coder input id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527369A-9632-811A-31B2-6DD57CE50211}"/>
              </a:ext>
            </a:extLst>
          </p:cNvPr>
          <p:cNvSpPr txBox="1"/>
          <p:nvPr/>
        </p:nvSpPr>
        <p:spPr>
          <a:xfrm>
            <a:off x="707176" y="5718137"/>
            <a:ext cx="261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adding mask's output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885A8942-EFAA-6494-D4ED-5C506E6CCAA4}"/>
              </a:ext>
            </a:extLst>
          </p:cNvPr>
          <p:cNvGrpSpPr/>
          <p:nvPr/>
        </p:nvGrpSpPr>
        <p:grpSpPr>
          <a:xfrm>
            <a:off x="4123984" y="3205824"/>
            <a:ext cx="3185352" cy="2923580"/>
            <a:chOff x="4123984" y="3205824"/>
            <a:chExt cx="3185352" cy="292358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185D345-2B95-46ED-8F6D-AAAE4F6BEBD0}"/>
                </a:ext>
              </a:extLst>
            </p:cNvPr>
            <p:cNvSpPr/>
            <p:nvPr/>
          </p:nvSpPr>
          <p:spPr>
            <a:xfrm>
              <a:off x="4123984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4E314CA-15CC-3379-636E-EFC0673E4C1A}"/>
                </a:ext>
              </a:extLst>
            </p:cNvPr>
            <p:cNvSpPr/>
            <p:nvPr/>
          </p:nvSpPr>
          <p:spPr>
            <a:xfrm>
              <a:off x="4123984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4DD0FDA-A51D-232F-4E97-92FC5F04D31E}"/>
                </a:ext>
              </a:extLst>
            </p:cNvPr>
            <p:cNvSpPr/>
            <p:nvPr/>
          </p:nvSpPr>
          <p:spPr>
            <a:xfrm>
              <a:off x="4123984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C5D1EEF-5AAE-5B6E-03B8-98842B6DC0D0}"/>
                </a:ext>
              </a:extLst>
            </p:cNvPr>
            <p:cNvSpPr/>
            <p:nvPr/>
          </p:nvSpPr>
          <p:spPr>
            <a:xfrm>
              <a:off x="4123984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879D26D-B460-85F7-0075-8FF90F74072E}"/>
                </a:ext>
              </a:extLst>
            </p:cNvPr>
            <p:cNvSpPr/>
            <p:nvPr/>
          </p:nvSpPr>
          <p:spPr>
            <a:xfrm>
              <a:off x="4123984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FC9DB27-ABF6-EA7F-8C63-F0FC2CA5C0AA}"/>
                </a:ext>
              </a:extLst>
            </p:cNvPr>
            <p:cNvSpPr/>
            <p:nvPr/>
          </p:nvSpPr>
          <p:spPr>
            <a:xfrm>
              <a:off x="4764874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3625DEB-5E2E-71C8-7210-F3E7E0D3A491}"/>
                </a:ext>
              </a:extLst>
            </p:cNvPr>
            <p:cNvSpPr/>
            <p:nvPr/>
          </p:nvSpPr>
          <p:spPr>
            <a:xfrm>
              <a:off x="4764874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3793DBE5-FAB6-EEA5-C9F2-621F6DBC3836}"/>
                </a:ext>
              </a:extLst>
            </p:cNvPr>
            <p:cNvSpPr/>
            <p:nvPr/>
          </p:nvSpPr>
          <p:spPr>
            <a:xfrm>
              <a:off x="4764874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45798B5-DB04-1BD8-2F78-42149101E1AF}"/>
                </a:ext>
              </a:extLst>
            </p:cNvPr>
            <p:cNvSpPr/>
            <p:nvPr/>
          </p:nvSpPr>
          <p:spPr>
            <a:xfrm>
              <a:off x="4764874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128FD79-7D6A-BE1E-3D8D-2E214C4777EB}"/>
                </a:ext>
              </a:extLst>
            </p:cNvPr>
            <p:cNvSpPr/>
            <p:nvPr/>
          </p:nvSpPr>
          <p:spPr>
            <a:xfrm>
              <a:off x="4764874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A5F2419-E355-F0B1-F4D8-C160BEABAEF3}"/>
                </a:ext>
              </a:extLst>
            </p:cNvPr>
            <p:cNvSpPr/>
            <p:nvPr/>
          </p:nvSpPr>
          <p:spPr>
            <a:xfrm>
              <a:off x="5405764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DF3E214-2704-2184-F8CA-6D2CEE72C972}"/>
                </a:ext>
              </a:extLst>
            </p:cNvPr>
            <p:cNvSpPr/>
            <p:nvPr/>
          </p:nvSpPr>
          <p:spPr>
            <a:xfrm>
              <a:off x="5405764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F1FBB91-1646-AA09-E5B6-EBEF72826BE7}"/>
                </a:ext>
              </a:extLst>
            </p:cNvPr>
            <p:cNvSpPr/>
            <p:nvPr/>
          </p:nvSpPr>
          <p:spPr>
            <a:xfrm>
              <a:off x="5405764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B38A8B5-4CBA-0A10-B92D-A14CC75ABFF7}"/>
                </a:ext>
              </a:extLst>
            </p:cNvPr>
            <p:cNvSpPr/>
            <p:nvPr/>
          </p:nvSpPr>
          <p:spPr>
            <a:xfrm>
              <a:off x="5405764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43F9ED9C-265A-DC96-5D3F-A9252A25A9AD}"/>
                </a:ext>
              </a:extLst>
            </p:cNvPr>
            <p:cNvSpPr/>
            <p:nvPr/>
          </p:nvSpPr>
          <p:spPr>
            <a:xfrm>
              <a:off x="5405764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E1A7F9F1-AAE0-35C0-5393-EF50CC619714}"/>
                </a:ext>
              </a:extLst>
            </p:cNvPr>
            <p:cNvSpPr/>
            <p:nvPr/>
          </p:nvSpPr>
          <p:spPr>
            <a:xfrm>
              <a:off x="6046654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09EE375A-FD73-A554-B088-87EAA68EDA04}"/>
                </a:ext>
              </a:extLst>
            </p:cNvPr>
            <p:cNvSpPr/>
            <p:nvPr/>
          </p:nvSpPr>
          <p:spPr>
            <a:xfrm>
              <a:off x="6046654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E366BF79-8A10-CA4E-3490-EAC1BE04D33B}"/>
                </a:ext>
              </a:extLst>
            </p:cNvPr>
            <p:cNvSpPr/>
            <p:nvPr/>
          </p:nvSpPr>
          <p:spPr>
            <a:xfrm>
              <a:off x="6046654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2C1A70A-777A-97A1-07ED-DBB46E62FA21}"/>
                </a:ext>
              </a:extLst>
            </p:cNvPr>
            <p:cNvSpPr/>
            <p:nvPr/>
          </p:nvSpPr>
          <p:spPr>
            <a:xfrm>
              <a:off x="6046654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067C80E5-BF62-2FAE-9794-8155C3CD0CF3}"/>
                </a:ext>
              </a:extLst>
            </p:cNvPr>
            <p:cNvSpPr/>
            <p:nvPr/>
          </p:nvSpPr>
          <p:spPr>
            <a:xfrm>
              <a:off x="6046654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17BC905-ABDC-34EF-9771-A564593C5286}"/>
                </a:ext>
              </a:extLst>
            </p:cNvPr>
            <p:cNvSpPr/>
            <p:nvPr/>
          </p:nvSpPr>
          <p:spPr>
            <a:xfrm>
              <a:off x="6687544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468C0D8-A4EF-4AF3-CC9B-02C00FD820F1}"/>
                </a:ext>
              </a:extLst>
            </p:cNvPr>
            <p:cNvSpPr/>
            <p:nvPr/>
          </p:nvSpPr>
          <p:spPr>
            <a:xfrm>
              <a:off x="6687544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DCBC9E9B-AB1D-164F-4B1E-B3B60B9316B2}"/>
                </a:ext>
              </a:extLst>
            </p:cNvPr>
            <p:cNvSpPr/>
            <p:nvPr/>
          </p:nvSpPr>
          <p:spPr>
            <a:xfrm>
              <a:off x="6687544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EAE00A2E-8263-F26D-BEC9-98C1D2EF9041}"/>
                </a:ext>
              </a:extLst>
            </p:cNvPr>
            <p:cNvSpPr/>
            <p:nvPr/>
          </p:nvSpPr>
          <p:spPr>
            <a:xfrm>
              <a:off x="6687544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786D8D91-65D9-AF8B-4FAE-A5C7628CCF25}"/>
                </a:ext>
              </a:extLst>
            </p:cNvPr>
            <p:cNvSpPr/>
            <p:nvPr/>
          </p:nvSpPr>
          <p:spPr>
            <a:xfrm>
              <a:off x="6687544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8844128C-4F81-60BC-A8A2-4152E3817F8A}"/>
              </a:ext>
            </a:extLst>
          </p:cNvPr>
          <p:cNvSpPr txBox="1"/>
          <p:nvPr/>
        </p:nvSpPr>
        <p:spPr>
          <a:xfrm>
            <a:off x="4469527" y="6092458"/>
            <a:ext cx="261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ausal mask's output</a:t>
            </a:r>
          </a:p>
        </p:txBody>
      </p:sp>
    </p:spTree>
    <p:extLst>
      <p:ext uri="{BB962C8B-B14F-4D97-AF65-F5344CB8AC3E}">
        <p14:creationId xmlns:p14="http://schemas.microsoft.com/office/powerpoint/2010/main" val="3611756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E3CFD-1506-7923-8568-BA147306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B2519-4680-7E4E-6799-CD7FCE47820B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reating mask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C38D16-A82B-694E-86A3-04766412DA18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93277D-AC8E-E7BE-BFAA-24367E3C34B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76469-3D47-F275-9DC7-0AC1E389B43C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k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2A0973-2276-0199-9BE2-2FF2D9742EFF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2D8D45-0A4A-D0A2-4816-EDAA4EBF9998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0ED95FE-A078-E285-066C-CAD92DA80FBE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68F752-4F8D-A2D1-4B58-F5FDAA617D15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9B638B-50CD-CABC-B3D1-F70D4E6DA7F7}"/>
              </a:ext>
            </a:extLst>
          </p:cNvPr>
          <p:cNvSpPr txBox="1"/>
          <p:nvPr/>
        </p:nvSpPr>
        <p:spPr>
          <a:xfrm>
            <a:off x="295541" y="1204946"/>
            <a:ext cx="11662161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decoder_mask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padding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ausal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causal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ding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ausal_mas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90778888-A974-9F85-9FBB-ACAA231D2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3" name="Group 142">
            <a:extLst>
              <a:ext uri="{FF2B5EF4-FFF2-40B4-BE49-F238E27FC236}">
                <a16:creationId xmlns:a16="http://schemas.microsoft.com/office/drawing/2014/main" id="{AE87326C-0D14-7F78-EE18-7D8A62031140}"/>
              </a:ext>
            </a:extLst>
          </p:cNvPr>
          <p:cNvGrpSpPr/>
          <p:nvPr/>
        </p:nvGrpSpPr>
        <p:grpSpPr>
          <a:xfrm>
            <a:off x="610707" y="3264597"/>
            <a:ext cx="2811251" cy="472867"/>
            <a:chOff x="610707" y="3264597"/>
            <a:chExt cx="2811251" cy="47286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7102FEA-8F48-9015-C061-B0B4D4569B9E}"/>
                </a:ext>
              </a:extLst>
            </p:cNvPr>
            <p:cNvSpPr/>
            <p:nvPr/>
          </p:nvSpPr>
          <p:spPr>
            <a:xfrm>
              <a:off x="1186912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8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E5B8602-EDFE-E47E-D44F-3D26AA4A533D}"/>
                </a:ext>
              </a:extLst>
            </p:cNvPr>
            <p:cNvSpPr/>
            <p:nvPr/>
          </p:nvSpPr>
          <p:spPr>
            <a:xfrm>
              <a:off x="610707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F1923B4-9848-E614-4B51-363DEE4D19C3}"/>
                </a:ext>
              </a:extLst>
            </p:cNvPr>
            <p:cNvSpPr/>
            <p:nvPr/>
          </p:nvSpPr>
          <p:spPr>
            <a:xfrm>
              <a:off x="1763117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72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605BBD6-8611-08CF-02E6-0721143565DF}"/>
                </a:ext>
              </a:extLst>
            </p:cNvPr>
            <p:cNvSpPr/>
            <p:nvPr/>
          </p:nvSpPr>
          <p:spPr>
            <a:xfrm>
              <a:off x="2339322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13DCC8B-C8A8-BC20-E72F-D5C7A8C0D4F6}"/>
                </a:ext>
              </a:extLst>
            </p:cNvPr>
            <p:cNvSpPr/>
            <p:nvPr/>
          </p:nvSpPr>
          <p:spPr>
            <a:xfrm>
              <a:off x="2915527" y="3264597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</p:grp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CC5C9D5-F32C-6BFA-3EA7-F7DF613EB03A}"/>
              </a:ext>
            </a:extLst>
          </p:cNvPr>
          <p:cNvCxnSpPr>
            <a:cxnSpLocks/>
          </p:cNvCxnSpPr>
          <p:nvPr/>
        </p:nvCxnSpPr>
        <p:spPr>
          <a:xfrm>
            <a:off x="2028419" y="4473490"/>
            <a:ext cx="0" cy="368867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032C20D1-7D00-8A58-DDA5-B77342681681}"/>
              </a:ext>
            </a:extLst>
          </p:cNvPr>
          <p:cNvGrpSpPr/>
          <p:nvPr/>
        </p:nvGrpSpPr>
        <p:grpSpPr>
          <a:xfrm>
            <a:off x="610707" y="4969495"/>
            <a:ext cx="2811251" cy="472867"/>
            <a:chOff x="610707" y="4969495"/>
            <a:chExt cx="2811251" cy="472867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B3F9A34-55EE-4D73-7B8C-138B0421732F}"/>
                </a:ext>
              </a:extLst>
            </p:cNvPr>
            <p:cNvSpPr/>
            <p:nvPr/>
          </p:nvSpPr>
          <p:spPr>
            <a:xfrm>
              <a:off x="1186912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0E80B55-5E2C-C9D0-D10E-BD4D6E8EAEB8}"/>
                </a:ext>
              </a:extLst>
            </p:cNvPr>
            <p:cNvSpPr/>
            <p:nvPr/>
          </p:nvSpPr>
          <p:spPr>
            <a:xfrm>
              <a:off x="610707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A96C5F-3AC9-FC5D-5B50-4E5D7FCCA776}"/>
                </a:ext>
              </a:extLst>
            </p:cNvPr>
            <p:cNvSpPr/>
            <p:nvPr/>
          </p:nvSpPr>
          <p:spPr>
            <a:xfrm>
              <a:off x="1763117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DF293F-405A-F0F4-420F-47D4E5F99C07}"/>
                </a:ext>
              </a:extLst>
            </p:cNvPr>
            <p:cNvSpPr/>
            <p:nvPr/>
          </p:nvSpPr>
          <p:spPr>
            <a:xfrm>
              <a:off x="2339322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0573322-CD64-5636-2924-7B370890ACA2}"/>
                </a:ext>
              </a:extLst>
            </p:cNvPr>
            <p:cNvSpPr/>
            <p:nvPr/>
          </p:nvSpPr>
          <p:spPr>
            <a:xfrm>
              <a:off x="2915527" y="4969495"/>
              <a:ext cx="506431" cy="47286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</a:t>
              </a:r>
            </a:p>
          </p:txBody>
        </p:sp>
      </p:grpSp>
      <p:sp>
        <p:nvSpPr>
          <p:cNvPr id="26" name="Left Brace 25">
            <a:extLst>
              <a:ext uri="{FF2B5EF4-FFF2-40B4-BE49-F238E27FC236}">
                <a16:creationId xmlns:a16="http://schemas.microsoft.com/office/drawing/2014/main" id="{3678208D-3DC2-25B5-DFCB-2E82100C75C1}"/>
              </a:ext>
            </a:extLst>
          </p:cNvPr>
          <p:cNvSpPr/>
          <p:nvPr/>
        </p:nvSpPr>
        <p:spPr>
          <a:xfrm rot="16200000">
            <a:off x="1969962" y="2815271"/>
            <a:ext cx="92744" cy="2304823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Left Brace 26">
            <a:extLst>
              <a:ext uri="{FF2B5EF4-FFF2-40B4-BE49-F238E27FC236}">
                <a16:creationId xmlns:a16="http://schemas.microsoft.com/office/drawing/2014/main" id="{30D89F25-5627-4716-DCB9-C260AE68136A}"/>
              </a:ext>
            </a:extLst>
          </p:cNvPr>
          <p:cNvSpPr/>
          <p:nvPr/>
        </p:nvSpPr>
        <p:spPr>
          <a:xfrm rot="16200000">
            <a:off x="1969963" y="4520170"/>
            <a:ext cx="92746" cy="2304825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9B51AEE-D33C-C3C0-DBB8-25410950E335}"/>
              </a:ext>
            </a:extLst>
          </p:cNvPr>
          <p:cNvSpPr txBox="1"/>
          <p:nvPr/>
        </p:nvSpPr>
        <p:spPr>
          <a:xfrm>
            <a:off x="834531" y="4018270"/>
            <a:ext cx="22069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coder input id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527369A-9632-811A-31B2-6DD57CE50211}"/>
              </a:ext>
            </a:extLst>
          </p:cNvPr>
          <p:cNvSpPr txBox="1"/>
          <p:nvPr/>
        </p:nvSpPr>
        <p:spPr>
          <a:xfrm>
            <a:off x="707176" y="5718137"/>
            <a:ext cx="261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adding mask's output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885A8942-EFAA-6494-D4ED-5C506E6CCAA4}"/>
              </a:ext>
            </a:extLst>
          </p:cNvPr>
          <p:cNvGrpSpPr/>
          <p:nvPr/>
        </p:nvGrpSpPr>
        <p:grpSpPr>
          <a:xfrm>
            <a:off x="4123984" y="3205824"/>
            <a:ext cx="3185352" cy="2923580"/>
            <a:chOff x="4123984" y="3205824"/>
            <a:chExt cx="3185352" cy="292358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185D345-2B95-46ED-8F6D-AAAE4F6BEBD0}"/>
                </a:ext>
              </a:extLst>
            </p:cNvPr>
            <p:cNvSpPr/>
            <p:nvPr/>
          </p:nvSpPr>
          <p:spPr>
            <a:xfrm>
              <a:off x="4123984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4E314CA-15CC-3379-636E-EFC0673E4C1A}"/>
                </a:ext>
              </a:extLst>
            </p:cNvPr>
            <p:cNvSpPr/>
            <p:nvPr/>
          </p:nvSpPr>
          <p:spPr>
            <a:xfrm>
              <a:off x="4123984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4DD0FDA-A51D-232F-4E97-92FC5F04D31E}"/>
                </a:ext>
              </a:extLst>
            </p:cNvPr>
            <p:cNvSpPr/>
            <p:nvPr/>
          </p:nvSpPr>
          <p:spPr>
            <a:xfrm>
              <a:off x="4123984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C5D1EEF-5AAE-5B6E-03B8-98842B6DC0D0}"/>
                </a:ext>
              </a:extLst>
            </p:cNvPr>
            <p:cNvSpPr/>
            <p:nvPr/>
          </p:nvSpPr>
          <p:spPr>
            <a:xfrm>
              <a:off x="4123984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879D26D-B460-85F7-0075-8FF90F74072E}"/>
                </a:ext>
              </a:extLst>
            </p:cNvPr>
            <p:cNvSpPr/>
            <p:nvPr/>
          </p:nvSpPr>
          <p:spPr>
            <a:xfrm>
              <a:off x="4123984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FC9DB27-ABF6-EA7F-8C63-F0FC2CA5C0AA}"/>
                </a:ext>
              </a:extLst>
            </p:cNvPr>
            <p:cNvSpPr/>
            <p:nvPr/>
          </p:nvSpPr>
          <p:spPr>
            <a:xfrm>
              <a:off x="4764874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3625DEB-5E2E-71C8-7210-F3E7E0D3A491}"/>
                </a:ext>
              </a:extLst>
            </p:cNvPr>
            <p:cNvSpPr/>
            <p:nvPr/>
          </p:nvSpPr>
          <p:spPr>
            <a:xfrm>
              <a:off x="4764874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3793DBE5-FAB6-EEA5-C9F2-621F6DBC3836}"/>
                </a:ext>
              </a:extLst>
            </p:cNvPr>
            <p:cNvSpPr/>
            <p:nvPr/>
          </p:nvSpPr>
          <p:spPr>
            <a:xfrm>
              <a:off x="4764874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45798B5-DB04-1BD8-2F78-42149101E1AF}"/>
                </a:ext>
              </a:extLst>
            </p:cNvPr>
            <p:cNvSpPr/>
            <p:nvPr/>
          </p:nvSpPr>
          <p:spPr>
            <a:xfrm>
              <a:off x="4764874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128FD79-7D6A-BE1E-3D8D-2E214C4777EB}"/>
                </a:ext>
              </a:extLst>
            </p:cNvPr>
            <p:cNvSpPr/>
            <p:nvPr/>
          </p:nvSpPr>
          <p:spPr>
            <a:xfrm>
              <a:off x="4764874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A5F2419-E355-F0B1-F4D8-C160BEABAEF3}"/>
                </a:ext>
              </a:extLst>
            </p:cNvPr>
            <p:cNvSpPr/>
            <p:nvPr/>
          </p:nvSpPr>
          <p:spPr>
            <a:xfrm>
              <a:off x="5405764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DF3E214-2704-2184-F8CA-6D2CEE72C972}"/>
                </a:ext>
              </a:extLst>
            </p:cNvPr>
            <p:cNvSpPr/>
            <p:nvPr/>
          </p:nvSpPr>
          <p:spPr>
            <a:xfrm>
              <a:off x="5405764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F1FBB91-1646-AA09-E5B6-EBEF72826BE7}"/>
                </a:ext>
              </a:extLst>
            </p:cNvPr>
            <p:cNvSpPr/>
            <p:nvPr/>
          </p:nvSpPr>
          <p:spPr>
            <a:xfrm>
              <a:off x="5405764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B38A8B5-4CBA-0A10-B92D-A14CC75ABFF7}"/>
                </a:ext>
              </a:extLst>
            </p:cNvPr>
            <p:cNvSpPr/>
            <p:nvPr/>
          </p:nvSpPr>
          <p:spPr>
            <a:xfrm>
              <a:off x="5405764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43F9ED9C-265A-DC96-5D3F-A9252A25A9AD}"/>
                </a:ext>
              </a:extLst>
            </p:cNvPr>
            <p:cNvSpPr/>
            <p:nvPr/>
          </p:nvSpPr>
          <p:spPr>
            <a:xfrm>
              <a:off x="5405764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E1A7F9F1-AAE0-35C0-5393-EF50CC619714}"/>
                </a:ext>
              </a:extLst>
            </p:cNvPr>
            <p:cNvSpPr/>
            <p:nvPr/>
          </p:nvSpPr>
          <p:spPr>
            <a:xfrm>
              <a:off x="6046654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09EE375A-FD73-A554-B088-87EAA68EDA04}"/>
                </a:ext>
              </a:extLst>
            </p:cNvPr>
            <p:cNvSpPr/>
            <p:nvPr/>
          </p:nvSpPr>
          <p:spPr>
            <a:xfrm>
              <a:off x="6046654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E366BF79-8A10-CA4E-3490-EAC1BE04D33B}"/>
                </a:ext>
              </a:extLst>
            </p:cNvPr>
            <p:cNvSpPr/>
            <p:nvPr/>
          </p:nvSpPr>
          <p:spPr>
            <a:xfrm>
              <a:off x="6046654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2C1A70A-777A-97A1-07ED-DBB46E62FA21}"/>
                </a:ext>
              </a:extLst>
            </p:cNvPr>
            <p:cNvSpPr/>
            <p:nvPr/>
          </p:nvSpPr>
          <p:spPr>
            <a:xfrm>
              <a:off x="6046654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067C80E5-BF62-2FAE-9794-8155C3CD0CF3}"/>
                </a:ext>
              </a:extLst>
            </p:cNvPr>
            <p:cNvSpPr/>
            <p:nvPr/>
          </p:nvSpPr>
          <p:spPr>
            <a:xfrm>
              <a:off x="6046654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17BC905-ABDC-34EF-9771-A564593C5286}"/>
                </a:ext>
              </a:extLst>
            </p:cNvPr>
            <p:cNvSpPr/>
            <p:nvPr/>
          </p:nvSpPr>
          <p:spPr>
            <a:xfrm>
              <a:off x="6687544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468C0D8-A4EF-4AF3-CC9B-02C00FD820F1}"/>
                </a:ext>
              </a:extLst>
            </p:cNvPr>
            <p:cNvSpPr/>
            <p:nvPr/>
          </p:nvSpPr>
          <p:spPr>
            <a:xfrm>
              <a:off x="6687544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DCBC9E9B-AB1D-164F-4B1E-B3B60B9316B2}"/>
                </a:ext>
              </a:extLst>
            </p:cNvPr>
            <p:cNvSpPr/>
            <p:nvPr/>
          </p:nvSpPr>
          <p:spPr>
            <a:xfrm>
              <a:off x="6687544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EAE00A2E-8263-F26D-BEC9-98C1D2EF9041}"/>
                </a:ext>
              </a:extLst>
            </p:cNvPr>
            <p:cNvSpPr/>
            <p:nvPr/>
          </p:nvSpPr>
          <p:spPr>
            <a:xfrm>
              <a:off x="6687544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ue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786D8D91-65D9-AF8B-4FAE-A5C7628CCF25}"/>
                </a:ext>
              </a:extLst>
            </p:cNvPr>
            <p:cNvSpPr/>
            <p:nvPr/>
          </p:nvSpPr>
          <p:spPr>
            <a:xfrm>
              <a:off x="6687544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False</a:t>
              </a: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407A13CB-629D-D630-B249-D70865B4B393}"/>
              </a:ext>
            </a:extLst>
          </p:cNvPr>
          <p:cNvGrpSpPr/>
          <p:nvPr/>
        </p:nvGrpSpPr>
        <p:grpSpPr>
          <a:xfrm>
            <a:off x="8395941" y="3205824"/>
            <a:ext cx="3185352" cy="2923580"/>
            <a:chOff x="8395941" y="3205824"/>
            <a:chExt cx="3185352" cy="2923580"/>
          </a:xfrm>
        </p:grpSpPr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96E89F85-8DC0-5F8E-7BC1-92A81A169006}"/>
                </a:ext>
              </a:extLst>
            </p:cNvPr>
            <p:cNvSpPr/>
            <p:nvPr/>
          </p:nvSpPr>
          <p:spPr>
            <a:xfrm>
              <a:off x="8395941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E72A05A-6E66-0A2A-44DB-6BD19BC048CB}"/>
                </a:ext>
              </a:extLst>
            </p:cNvPr>
            <p:cNvSpPr/>
            <p:nvPr/>
          </p:nvSpPr>
          <p:spPr>
            <a:xfrm>
              <a:off x="8395941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FC137698-2D79-5997-A3CA-B3E45C76F100}"/>
                </a:ext>
              </a:extLst>
            </p:cNvPr>
            <p:cNvSpPr/>
            <p:nvPr/>
          </p:nvSpPr>
          <p:spPr>
            <a:xfrm>
              <a:off x="8395941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2172E3BD-1E12-D1ED-C5D8-CAC35F5F9424}"/>
                </a:ext>
              </a:extLst>
            </p:cNvPr>
            <p:cNvSpPr/>
            <p:nvPr/>
          </p:nvSpPr>
          <p:spPr>
            <a:xfrm>
              <a:off x="8395941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C864CEE-E948-63AB-B9D3-959A378AC10B}"/>
                </a:ext>
              </a:extLst>
            </p:cNvPr>
            <p:cNvSpPr/>
            <p:nvPr/>
          </p:nvSpPr>
          <p:spPr>
            <a:xfrm>
              <a:off x="8395941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1B87AE13-BD20-94A7-F215-5899B84E1C4C}"/>
                </a:ext>
              </a:extLst>
            </p:cNvPr>
            <p:cNvSpPr/>
            <p:nvPr/>
          </p:nvSpPr>
          <p:spPr>
            <a:xfrm>
              <a:off x="9036831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3430F8AB-292E-F200-E409-A52A508024F5}"/>
                </a:ext>
              </a:extLst>
            </p:cNvPr>
            <p:cNvSpPr/>
            <p:nvPr/>
          </p:nvSpPr>
          <p:spPr>
            <a:xfrm>
              <a:off x="9036831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1CDFAF3B-8B2A-1C24-547D-51DF6CFEFCB6}"/>
                </a:ext>
              </a:extLst>
            </p:cNvPr>
            <p:cNvSpPr/>
            <p:nvPr/>
          </p:nvSpPr>
          <p:spPr>
            <a:xfrm>
              <a:off x="9036831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4F7D716A-1C86-4648-C08B-34269A75ECD1}"/>
                </a:ext>
              </a:extLst>
            </p:cNvPr>
            <p:cNvSpPr/>
            <p:nvPr/>
          </p:nvSpPr>
          <p:spPr>
            <a:xfrm>
              <a:off x="9036831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05915C1C-D21C-06A8-A13F-6014B3C628E1}"/>
                </a:ext>
              </a:extLst>
            </p:cNvPr>
            <p:cNvSpPr/>
            <p:nvPr/>
          </p:nvSpPr>
          <p:spPr>
            <a:xfrm>
              <a:off x="9036831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0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E4D87EB4-B4D4-3FDA-74B2-59E9B9B23746}"/>
                </a:ext>
              </a:extLst>
            </p:cNvPr>
            <p:cNvSpPr/>
            <p:nvPr/>
          </p:nvSpPr>
          <p:spPr>
            <a:xfrm>
              <a:off x="9677721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0</a:t>
              </a: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E33C4AB6-1625-9510-BBF5-C48AFA3AAAF1}"/>
                </a:ext>
              </a:extLst>
            </p:cNvPr>
            <p:cNvSpPr/>
            <p:nvPr/>
          </p:nvSpPr>
          <p:spPr>
            <a:xfrm>
              <a:off x="9677721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06992C0B-1086-4635-CAD0-C9952AAF08B7}"/>
                </a:ext>
              </a:extLst>
            </p:cNvPr>
            <p:cNvSpPr/>
            <p:nvPr/>
          </p:nvSpPr>
          <p:spPr>
            <a:xfrm>
              <a:off x="9677721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B1DA01F5-C7CB-15AB-9262-507ABE7C7826}"/>
                </a:ext>
              </a:extLst>
            </p:cNvPr>
            <p:cNvSpPr/>
            <p:nvPr/>
          </p:nvSpPr>
          <p:spPr>
            <a:xfrm>
              <a:off x="9677721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F7141BF9-B480-CE39-DDF5-E7718D1AD4BF}"/>
                </a:ext>
              </a:extLst>
            </p:cNvPr>
            <p:cNvSpPr/>
            <p:nvPr/>
          </p:nvSpPr>
          <p:spPr>
            <a:xfrm>
              <a:off x="9677721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0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B41BDFF0-E214-FC64-A79C-157794493887}"/>
                </a:ext>
              </a:extLst>
            </p:cNvPr>
            <p:cNvSpPr/>
            <p:nvPr/>
          </p:nvSpPr>
          <p:spPr>
            <a:xfrm>
              <a:off x="10318611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0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131339AA-1900-1421-0B45-A4D236A76944}"/>
                </a:ext>
              </a:extLst>
            </p:cNvPr>
            <p:cNvSpPr/>
            <p:nvPr/>
          </p:nvSpPr>
          <p:spPr>
            <a:xfrm>
              <a:off x="10318611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0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C953720B-7D03-86C1-D8EA-AA8460468B09}"/>
                </a:ext>
              </a:extLst>
            </p:cNvPr>
            <p:cNvSpPr/>
            <p:nvPr/>
          </p:nvSpPr>
          <p:spPr>
            <a:xfrm>
              <a:off x="10318611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543858BF-3BF4-DC8A-0950-A722982E2D2C}"/>
                </a:ext>
              </a:extLst>
            </p:cNvPr>
            <p:cNvSpPr/>
            <p:nvPr/>
          </p:nvSpPr>
          <p:spPr>
            <a:xfrm>
              <a:off x="10318611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77B81A7E-CCE3-1DFA-19B0-194BA2547155}"/>
                </a:ext>
              </a:extLst>
            </p:cNvPr>
            <p:cNvSpPr/>
            <p:nvPr/>
          </p:nvSpPr>
          <p:spPr>
            <a:xfrm>
              <a:off x="10318611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0</a:t>
              </a: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4FCD7470-8020-36FF-85D5-A218B0981EFC}"/>
                </a:ext>
              </a:extLst>
            </p:cNvPr>
            <p:cNvSpPr/>
            <p:nvPr/>
          </p:nvSpPr>
          <p:spPr>
            <a:xfrm>
              <a:off x="10959501" y="3781271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0</a:t>
              </a: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3722BA15-B807-26B5-B58A-820DD28CAAD7}"/>
                </a:ext>
              </a:extLst>
            </p:cNvPr>
            <p:cNvSpPr/>
            <p:nvPr/>
          </p:nvSpPr>
          <p:spPr>
            <a:xfrm>
              <a:off x="10959501" y="4356718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0</a:t>
              </a: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B63C6AC6-1177-DA91-C109-8CBAC58B2ACF}"/>
                </a:ext>
              </a:extLst>
            </p:cNvPr>
            <p:cNvSpPr/>
            <p:nvPr/>
          </p:nvSpPr>
          <p:spPr>
            <a:xfrm>
              <a:off x="10959501" y="4932165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0</a:t>
              </a: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61F11CEA-1D44-1644-A8F3-89BB04581F5B}"/>
                </a:ext>
              </a:extLst>
            </p:cNvPr>
            <p:cNvSpPr/>
            <p:nvPr/>
          </p:nvSpPr>
          <p:spPr>
            <a:xfrm>
              <a:off x="10959501" y="5507612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0</a:t>
              </a:r>
              <a:endParaRPr lang="en-US" sz="1400" dirty="0"/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BD430ADD-D8AF-BEFF-F149-87A64F837B1E}"/>
                </a:ext>
              </a:extLst>
            </p:cNvPr>
            <p:cNvSpPr/>
            <p:nvPr/>
          </p:nvSpPr>
          <p:spPr>
            <a:xfrm>
              <a:off x="10959501" y="3205824"/>
              <a:ext cx="621792" cy="621792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0</a:t>
              </a: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8844128C-4F81-60BC-A8A2-4152E3817F8A}"/>
              </a:ext>
            </a:extLst>
          </p:cNvPr>
          <p:cNvSpPr txBox="1"/>
          <p:nvPr/>
        </p:nvSpPr>
        <p:spPr>
          <a:xfrm>
            <a:off x="4469527" y="6092458"/>
            <a:ext cx="261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ausal mask's output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46CBF540-CB17-19A1-467B-4252981834DF}"/>
              </a:ext>
            </a:extLst>
          </p:cNvPr>
          <p:cNvSpPr txBox="1"/>
          <p:nvPr/>
        </p:nvSpPr>
        <p:spPr>
          <a:xfrm>
            <a:off x="3618832" y="5073030"/>
            <a:ext cx="3464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C000"/>
                </a:solidFill>
              </a:rPr>
              <a:t>&amp;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54B2032E-959D-FC9A-B6C4-4572046ED210}"/>
              </a:ext>
            </a:extLst>
          </p:cNvPr>
          <p:cNvSpPr txBox="1"/>
          <p:nvPr/>
        </p:nvSpPr>
        <p:spPr>
          <a:xfrm>
            <a:off x="7679424" y="5073030"/>
            <a:ext cx="3464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C000"/>
                </a:solidFill>
              </a:rPr>
              <a:t>=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32852E0A-6DED-9E49-0468-9B713FC7915E}"/>
              </a:ext>
            </a:extLst>
          </p:cNvPr>
          <p:cNvSpPr txBox="1"/>
          <p:nvPr/>
        </p:nvSpPr>
        <p:spPr>
          <a:xfrm>
            <a:off x="8675280" y="6098584"/>
            <a:ext cx="261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coder mask's output</a:t>
            </a:r>
          </a:p>
        </p:txBody>
      </p:sp>
    </p:spTree>
    <p:extLst>
      <p:ext uri="{BB962C8B-B14F-4D97-AF65-F5344CB8AC3E}">
        <p14:creationId xmlns:p14="http://schemas.microsoft.com/office/powerpoint/2010/main" val="2150759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  <p:bldP spid="139" grpId="0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D8E86B-F3E6-95EA-3831-2EE59B6C31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CF30EEE-FAA2-4238-A9C2-A07B15DC8420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9152547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layground – Create decoder mas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F2422BE-F1DF-8AB0-89E8-A28B8F48AAAE}"/>
              </a:ext>
            </a:extLst>
          </p:cNvPr>
          <p:cNvSpPr/>
          <p:nvPr/>
        </p:nvSpPr>
        <p:spPr>
          <a:xfrm>
            <a:off x="88901" y="612774"/>
            <a:ext cx="12014197" cy="6187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9759831-53FD-EE2B-19B9-DA76FB1BA28E}"/>
              </a:ext>
            </a:extLst>
          </p:cNvPr>
          <p:cNvSpPr/>
          <p:nvPr/>
        </p:nvSpPr>
        <p:spPr>
          <a:xfrm>
            <a:off x="88900" y="612774"/>
            <a:ext cx="12014197" cy="46634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F621177-F2A5-1684-B6D0-050B5BDEDD0E}"/>
              </a:ext>
            </a:extLst>
          </p:cNvPr>
          <p:cNvGrpSpPr/>
          <p:nvPr/>
        </p:nvGrpSpPr>
        <p:grpSpPr>
          <a:xfrm>
            <a:off x="320368" y="775952"/>
            <a:ext cx="653739" cy="170917"/>
            <a:chOff x="462204" y="914403"/>
            <a:chExt cx="653739" cy="170917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FA304BB-09F1-0600-3EE9-016805252413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E0E272A-2B32-3B7B-400B-EF6DE695A78C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A7292CE-6344-E2F8-FC15-BB4933354CE0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F0F2D08D-6119-FAF1-AB59-D4782BFAB1AF}"/>
              </a:ext>
            </a:extLst>
          </p:cNvPr>
          <p:cNvSpPr txBox="1"/>
          <p:nvPr/>
        </p:nvSpPr>
        <p:spPr>
          <a:xfrm>
            <a:off x="150143" y="1168257"/>
            <a:ext cx="11952955" cy="535531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inputs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_input_i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7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96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d token id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equence lengt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decoder mask # (1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de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ad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E1E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	</a:t>
            </a:r>
            <a:r>
              <a:rPr lang="en-US" b="0" dirty="0" err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hape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dirty="0">
                <a:solidFill>
                  <a:srgbClr val="FB94FF"/>
                </a:solidFill>
                <a:latin typeface="Consolas" panose="020B0609020204030204" pitchFamily="49" charset="0"/>
              </a:rPr>
              <a:t>	</a:t>
            </a:r>
            <a:r>
              <a:rPr lang="en-US" b="0" dirty="0" err="1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hape: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B2472F-4F02-AA31-CC6E-625D8632FA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5702" y="3306236"/>
            <a:ext cx="5168908" cy="539677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F4BEC42-784B-B15F-9415-73B2FD29B7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5702" y="4804683"/>
            <a:ext cx="5168908" cy="1857385"/>
          </a:xfrm>
          <a:prstGeom prst="rect">
            <a:avLst/>
          </a:prstGeom>
          <a:ln>
            <a:solidFill>
              <a:srgbClr val="00B050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950A5F1-F34B-C6DE-59CB-ED4F83334881}"/>
              </a:ext>
            </a:extLst>
          </p:cNvPr>
          <p:cNvSpPr/>
          <p:nvPr/>
        </p:nvSpPr>
        <p:spPr>
          <a:xfrm>
            <a:off x="1236914" y="622123"/>
            <a:ext cx="3070166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mask.ipynb</a:t>
            </a:r>
            <a:endParaRPr lang="en-US" dirty="0"/>
          </a:p>
        </p:txBody>
      </p:sp>
      <p:pic>
        <p:nvPicPr>
          <p:cNvPr id="10" name="Picture 2" descr="Project Jupyter - Wikipedia">
            <a:extLst>
              <a:ext uri="{FF2B5EF4-FFF2-40B4-BE49-F238E27FC236}">
                <a16:creationId xmlns:a16="http://schemas.microsoft.com/office/drawing/2014/main" id="{8B021716-2879-BAA1-ABE0-054181D23B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368" y="647860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9213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8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9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9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5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8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4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77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14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75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1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18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49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72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8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36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 - 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480229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4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Ellipse 8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3" name="TextBox 12"/>
          <p:cNvSpPr txBox="1"/>
          <p:nvPr/>
        </p:nvSpPr>
        <p:spPr>
          <a:xfrm>
            <a:off x="2217446" y="5061507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environment    </a:t>
            </a:r>
          </a:p>
          <a:p>
            <a:r>
              <a:rPr lang="en-US" sz="1600" dirty="0"/>
              <a:t>`</a:t>
            </a:r>
            <a:r>
              <a:rPr lang="en-US" sz="1600" dirty="0" err="1"/>
              <a:t>venv</a:t>
            </a:r>
            <a:r>
              <a:rPr lang="en-US" sz="1600" dirty="0"/>
              <a:t> `, `</a:t>
            </a:r>
            <a:r>
              <a:rPr lang="en-US" sz="1600" dirty="0" err="1"/>
              <a:t>conda</a:t>
            </a:r>
            <a:r>
              <a:rPr lang="en-US" sz="1600" dirty="0"/>
              <a:t>`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2854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/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grpSp>
        <p:nvGrpSpPr>
          <p:cNvPr id="74" name="Group 73">
            <a:extLst>
              <a:ext uri="{FF2B5EF4-FFF2-40B4-BE49-F238E27FC236}">
                <a16:creationId xmlns:a16="http://schemas.microsoft.com/office/drawing/2014/main" id="{D8B86446-0342-94E1-09E9-EF31A426921C}"/>
              </a:ext>
            </a:extLst>
          </p:cNvPr>
          <p:cNvGrpSpPr/>
          <p:nvPr/>
        </p:nvGrpSpPr>
        <p:grpSpPr>
          <a:xfrm>
            <a:off x="4576404" y="5113819"/>
            <a:ext cx="1406083" cy="480150"/>
            <a:chOff x="6883676" y="6100833"/>
            <a:chExt cx="1406083" cy="480150"/>
          </a:xfrm>
        </p:grpSpPr>
        <p:pic>
          <p:nvPicPr>
            <p:cNvPr id="75" name="Picture 74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D56334ED-18CE-81CF-0696-CD84CA8C7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76" name="Picture 4" descr="Anaconda (Python distribution) - Wikipedia">
              <a:extLst>
                <a:ext uri="{FF2B5EF4-FFF2-40B4-BE49-F238E27FC236}">
                  <a16:creationId xmlns:a16="http://schemas.microsoft.com/office/drawing/2014/main" id="{05288544-8781-E65F-E38D-9368F8BC04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CF5E3B2-60ED-83F1-03F4-6D90CC61087D}"/>
              </a:ext>
            </a:extLst>
          </p:cNvPr>
          <p:cNvSpPr txBox="1"/>
          <p:nvPr/>
        </p:nvSpPr>
        <p:spPr>
          <a:xfrm>
            <a:off x="6666259" y="3879923"/>
            <a:ext cx="5208241" cy="2862322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setup where 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ython and its related tools and libraries are installed and configure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T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 develop an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R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n Python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ways to create Python environ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irtual </a:t>
            </a: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Environmen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sing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env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or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irtualenv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Environmen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Using </a:t>
            </a:r>
            <a:r>
              <a:rPr lang="en-US" dirty="0" err="1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endParaRPr lang="en-US" dirty="0">
              <a:solidFill>
                <a:srgbClr val="195979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DE tools like PyCharm, VS Cod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E0C117-A4CF-F1B4-F35C-50DF6E1A72B0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4" name="Picture 3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4557E3CB-DA3A-0CB5-067A-65F5B6336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6" name="Picture 4" descr="Anaconda (Python distribution) - Wikipedia">
              <a:extLst>
                <a:ext uri="{FF2B5EF4-FFF2-40B4-BE49-F238E27FC236}">
                  <a16:creationId xmlns:a16="http://schemas.microsoft.com/office/drawing/2014/main" id="{B9A09665-7E6F-020F-0AC9-B81CE954CB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79857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900520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683A7A-0F53-0F2F-4FD3-4C793CC9F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F73AE4-C49E-8FD7-1F93-D2A80CFD5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aration function/class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DFE4072A-A8F4-C6F3-E5D3-C7A8C33E56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07DB018B-4F36-9861-6C6F-669B40234283}"/>
              </a:ext>
            </a:extLst>
          </p:cNvPr>
          <p:cNvSpPr/>
          <p:nvPr/>
        </p:nvSpPr>
        <p:spPr>
          <a:xfrm rot="10800000">
            <a:off x="1923516" y="5680195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674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3545E8-8CD5-3B3F-B761-8237A3933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7D8A66E-53ED-54AD-30C3-589B2BA50229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Data – Data Preprocessor clas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D07D210-32C0-D924-EB76-E9BF353E740A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053201-082D-B1EA-5492-095B82B465CD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387588-8C3F-E349-CA2C-CDDEB34BF5AD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9A41750-B8D5-1985-C2B2-99F707C5AB00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EA9B272-626F-5DB8-D7AB-603E324C8E3F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CBCA12F-AB38-308B-A614-D27A08E54722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466B65D-79C6-9D15-EF1C-4400FDFACC3E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127AEBF-DE5B-F699-2229-347162CEF63E}"/>
              </a:ext>
            </a:extLst>
          </p:cNvPr>
          <p:cNvSpPr txBox="1"/>
          <p:nvPr/>
        </p:nvSpPr>
        <p:spPr>
          <a:xfrm>
            <a:off x="295541" y="1204946"/>
            <a:ext cx="11662161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util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at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atase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decoder_mas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ataPreproces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ataset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anguage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anguage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        	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tore the parameters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atase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src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tokenizer_tg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anguage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anguage_src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anguage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language_tg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eq_le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8A158ECF-A56E-B7DC-02EA-C9D4FE7037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1296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2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6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36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3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4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406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97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788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99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41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701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992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5490CA-4719-64EF-085C-D36E05A80B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46437E-325C-AFAB-C6B8-223A1E2FDF3F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Data – Data Preprocessor clas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B11D064-D7E6-A40B-44F3-13DBF11221C2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D3AAF3B-C4CC-88AC-57C9-815ED5533E55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7EB133-138E-2BB1-81B4-9A0656589FE9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DEF58AF-C859-E3EF-88A3-DAC71110AD95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102B262-7C8B-6394-FB9A-95A57CC26651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C962B1DE-8A14-915B-12C4-3346E996F7E0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26F7561-7C9F-11DE-BA0A-2094B863FA6C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2DEFF0F-645E-255A-9C08-DF73754EECB1}"/>
              </a:ext>
            </a:extLst>
          </p:cNvPr>
          <p:cNvSpPr txBox="1"/>
          <p:nvPr/>
        </p:nvSpPr>
        <p:spPr>
          <a:xfrm>
            <a:off x="295541" y="1204946"/>
            <a:ext cx="11662161" cy="424731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   # Get the token ids for the special tokens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os_token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_to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SOS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		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typ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6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os_token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_to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EOS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		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typ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6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_to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[PAD]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		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typ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6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he __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__ method returns the number of items in the datase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B2435048-3DBA-315E-9FF0-3582707A4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9240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4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4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1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4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56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72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6EFCDC-60D3-AF65-62B5-E5912F880E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CDBD53-922C-CED4-7FF4-4A5177DA8700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Data – Data Preprocessor clas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7263F31-A7FC-670E-9964-14CD7E362165}"/>
              </a:ext>
            </a:extLst>
          </p:cNvPr>
          <p:cNvSpPr/>
          <p:nvPr/>
        </p:nvSpPr>
        <p:spPr>
          <a:xfrm>
            <a:off x="241421" y="658813"/>
            <a:ext cx="11716281" cy="5901445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CD5CB8C-4D2D-F42A-A318-4372372FA208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7596AB-D21E-9ED7-78B9-31CCF8850DA4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8682F41-C035-ED0C-17DE-082CE78BA62B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DA4ED7F-BD8D-0F9C-240B-A9B449E58FCD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53FB80B-B0BA-3200-6D3B-C9733027A118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2D76177-88D7-7ACD-0E21-302720A56711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2CA7419-C36E-1C51-E85E-95BD7E5DF805}"/>
              </a:ext>
            </a:extLst>
          </p:cNvPr>
          <p:cNvSpPr txBox="1"/>
          <p:nvPr/>
        </p:nvSpPr>
        <p:spPr>
          <a:xfrm>
            <a:off x="295541" y="1204946"/>
            <a:ext cx="11662161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he __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getitem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__ method returns the preprocessed data for the item at the given index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item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idx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Get the item from the datase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item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idx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Get the source and target texts from the item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xt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ite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ranslati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anguage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xt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ite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ranslatio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language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Tokenize the source and target texts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token_i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n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xt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		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typ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6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token_i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ncod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xt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		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typ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int6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	</a:t>
            </a:r>
          </a:p>
          <a:p>
            <a:r>
              <a:rPr lang="en-US" i="1" dirty="0">
                <a:solidFill>
                  <a:srgbClr val="FFFFFF"/>
                </a:solidFill>
                <a:latin typeface="Consolas" panose="020B0609020204030204" pitchFamily="49" charset="0"/>
              </a:rPr>
              <a:t>	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culate the number of padding tokens needed for the encoder and decoder inputs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padding_nu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token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# 2: SOS &amp; EOS 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i="1" dirty="0">
                <a:solidFill>
                  <a:srgbClr val="FFFFFF"/>
                </a:solidFill>
                <a:latin typeface="Consolas" panose="020B0609020204030204" pitchFamily="49" charset="0"/>
              </a:rPr>
              <a:t>	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padding_nu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token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i="1" dirty="0">
                <a:solidFill>
                  <a:srgbClr val="0088FF"/>
                </a:solidFill>
                <a:latin typeface="Consolas" panose="020B0609020204030204" pitchFamily="49" charset="0"/>
              </a:rPr>
              <a:t># 1: SO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AEC11DA3-C77B-28C2-E673-BE7D3C69D1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893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7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96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1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42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42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80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266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27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48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929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81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81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501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162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4A3077-1F3C-A283-C77E-A25C5DDE7B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75C4669-30F0-6E98-F0FB-AD2C4990D319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Data – Data Preprocessor clas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717D59-6EB6-3E5F-24BE-E14AD09D5B83}"/>
              </a:ext>
            </a:extLst>
          </p:cNvPr>
          <p:cNvSpPr/>
          <p:nvPr/>
        </p:nvSpPr>
        <p:spPr>
          <a:xfrm>
            <a:off x="241421" y="658813"/>
            <a:ext cx="11716281" cy="617844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38E410-0E6C-2666-F175-A064A2716BC1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73436B-DFD5-0CF9-063F-574D4479DD8E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0D87D9E-EBD5-93DE-BD34-0A386E10A1D0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FBACA85-3A07-2E67-6C8B-4528F552AE6D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0CA4188-9F34-1E75-3D61-84181977599B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0C37A22-FD98-F8D2-A3C8-138311578EFC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B5D915A-6F91-E074-85AF-AD9D1E63F08D}"/>
              </a:ext>
            </a:extLst>
          </p:cNvPr>
          <p:cNvSpPr txBox="1"/>
          <p:nvPr/>
        </p:nvSpPr>
        <p:spPr>
          <a:xfrm>
            <a:off x="295541" y="1204946"/>
            <a:ext cx="11662161" cy="563231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	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encoder and decoder inputs and the decoder target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os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token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os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pe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padding_nu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os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token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pe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padding_nu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target_i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token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os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epea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padding_num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(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C2971E46-24AF-91F0-6061-0FC8A06164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2422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2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9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92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63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134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305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756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767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38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38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09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38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831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842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123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123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294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465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3916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CB451D-B0A3-9977-8FC1-15C22FA6B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C240C68-0592-99AC-7BAA-CD5EA48B94F1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Data – Data Preprocessor clas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7E9E0FE-0D23-88EC-591A-C3793B91E8C2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AA32F8A-FC47-87F5-4A5E-B4946A5404D9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9C966AB-36C6-DBD4-AE8F-0598B2B149C9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435727C-AFBA-1E1B-A65C-BA35034FAEB7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00FE280-BCE7-1082-D169-07FB90AED4C5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87A884C-8C84-E210-A73D-6763184482DA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C1B2EF02-2CD7-572B-F617-FFDB3AD28833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86F69955-5AF7-457E-ECE3-EF5F6721E222}"/>
              </a:ext>
            </a:extLst>
          </p:cNvPr>
          <p:cNvSpPr txBox="1"/>
          <p:nvPr/>
        </p:nvSpPr>
        <p:spPr>
          <a:xfrm>
            <a:off x="295541" y="1204946"/>
            <a:ext cx="11662161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masks for the encoder and decoder inputs, (1, 1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i="1" dirty="0">
              <a:solidFill>
                <a:srgbClr val="0088FF"/>
              </a:solidFill>
              <a:effectLst/>
              <a:latin typeface="Consolas" panose="020B0609020204030204" pitchFamily="49" charset="0"/>
            </a:endParaRPr>
          </a:p>
          <a:p>
            <a:endParaRPr lang="en-US" b="0" i="1" dirty="0">
              <a:solidFill>
                <a:srgbClr val="0088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the masks for the decoder inputs (1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create_de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d_token_i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			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Return the preprocessed data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output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ext_src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xt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text_tg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xt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inpu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target_ids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target_i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ncoder_mask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decoder_mask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ecoder_mask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output</a:t>
            </a: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D45D8E88-ABFC-A05C-59C1-0695875C91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027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0412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7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5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77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8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84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91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10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29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66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4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43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70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96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963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606080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B7EB37-433C-0BA8-BC6C-B7B006B4F0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2FDA8-F34C-C460-02E1-EFEC7C843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aration function/class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0C987FB9-6651-7ACC-F854-CA17AE6321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21FD54DE-1869-4483-283D-36B166C8FCED}"/>
              </a:ext>
            </a:extLst>
          </p:cNvPr>
          <p:cNvSpPr/>
          <p:nvPr/>
        </p:nvSpPr>
        <p:spPr>
          <a:xfrm>
            <a:off x="9469273" y="2236240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498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C12DBE-A7B9-3596-69A7-E5276EC015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7C3EF9B5-76CB-DC2D-F4E6-80CF5046CDC6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C01A752-EC9E-7A5E-655A-00180A02172F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F53E477-4EC7-150D-2661-D4FFD47CA8E5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A11ABA1-AE4F-FCC5-7235-A772787D0FC3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utils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DEDD82A-8F46-F997-8B8B-1C08E29C4E87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2946AA9B-9B9A-69FC-13B9-32C1B2C6EA49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5E56E841-8F15-A0C5-F70B-2DDC74B427F1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4B99264B-95A2-1951-6E75-A00D873913A3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E944159E-D7A0-E757-1CF2-419A3656EA84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tils – Preprocessing dat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236234-0F55-DA9F-2CE0-30A5F4E9B442}"/>
              </a:ext>
            </a:extLst>
          </p:cNvPr>
          <p:cNvSpPr txBox="1"/>
          <p:nvPr/>
        </p:nvSpPr>
        <p:spPr>
          <a:xfrm>
            <a:off x="291979" y="1239144"/>
            <a:ext cx="11202114" cy="5509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eprocessing_data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Get the raw dataset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raw_datase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config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lize tokenizers for the source &amp; target language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config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raw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sourc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get_tokeniz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config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raw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targe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alculate the sizes of the training, validation, and test set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_ds_siz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raw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7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_ds_siz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raw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0.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st_ds_siz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raw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_ds_siz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_ds_size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   </a:t>
            </a:r>
            <a:r>
              <a:rPr lang="en-US" sz="1800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plit the raw dataset into training, validation, and test sets</a:t>
            </a:r>
            <a:endParaRPr lang="en-US" sz="1800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8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800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_raw_dataset</a:t>
            </a:r>
            <a:r>
              <a:rPr lang="en-US" sz="18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8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_raw_dataset</a:t>
            </a:r>
            <a:r>
              <a:rPr lang="en-US" sz="18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8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st_raw_dataset</a:t>
            </a:r>
            <a:r>
              <a:rPr lang="en-US" sz="18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8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	</a:t>
            </a:r>
            <a:r>
              <a:rPr lang="en-US" sz="1800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random_split</a:t>
            </a:r>
            <a:r>
              <a:rPr lang="en-US" sz="18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800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raw_dataset</a:t>
            </a:r>
            <a:r>
              <a:rPr lang="en-US" sz="18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800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800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_ds_size</a:t>
            </a:r>
            <a:r>
              <a:rPr lang="en-US" sz="18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800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	</a:t>
            </a:r>
            <a:r>
              <a:rPr lang="en-US" sz="1800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_ds_size</a:t>
            </a:r>
            <a:r>
              <a:rPr lang="en-US" sz="18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800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800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st_ds_size</a:t>
            </a:r>
            <a:r>
              <a:rPr lang="en-US" sz="1800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)</a:t>
            </a:r>
            <a:br>
              <a:rPr lang="en-US" sz="14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sz="1400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sz="1400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" name="Picture 6" descr="Python (programming language) - Wikipedia">
            <a:extLst>
              <a:ext uri="{FF2B5EF4-FFF2-40B4-BE49-F238E27FC236}">
                <a16:creationId xmlns:a16="http://schemas.microsoft.com/office/drawing/2014/main" id="{D308C2D0-72D2-36AC-9790-0AAEA9D81C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989" y="885181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5631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9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5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3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95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67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20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8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94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49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2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 - 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480229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4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Ellipse 8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3" name="TextBox 12"/>
          <p:cNvSpPr txBox="1"/>
          <p:nvPr/>
        </p:nvSpPr>
        <p:spPr>
          <a:xfrm>
            <a:off x="2217446" y="5061507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environment    </a:t>
            </a:r>
          </a:p>
          <a:p>
            <a:r>
              <a:rPr lang="en-US" sz="1600" dirty="0"/>
              <a:t>`</a:t>
            </a:r>
            <a:r>
              <a:rPr lang="en-US" sz="1600" dirty="0" err="1"/>
              <a:t>venv</a:t>
            </a:r>
            <a:r>
              <a:rPr lang="en-US" sz="1600" dirty="0"/>
              <a:t> `, `</a:t>
            </a:r>
            <a:r>
              <a:rPr lang="en-US" sz="1600" dirty="0" err="1"/>
              <a:t>conda</a:t>
            </a:r>
            <a:r>
              <a:rPr lang="en-US" sz="1600" dirty="0"/>
              <a:t>`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2854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/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775AC32-8D8A-AB23-A1EE-F452C4A95B34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44" name="Picture 43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8D940B89-6DE8-599A-40EF-0206ED7CF9C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028" name="Picture 4" descr="Anaconda (Python distribution) - Wikipedia">
              <a:extLst>
                <a:ext uri="{FF2B5EF4-FFF2-40B4-BE49-F238E27FC236}">
                  <a16:creationId xmlns:a16="http://schemas.microsoft.com/office/drawing/2014/main" id="{4C414619-1525-B3BC-741C-7EC17B7715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2" name="Picture 8" descr="pypi · GitHub Topics · GitHub">
            <a:extLst>
              <a:ext uri="{FF2B5EF4-FFF2-40B4-BE49-F238E27FC236}">
                <a16:creationId xmlns:a16="http://schemas.microsoft.com/office/drawing/2014/main" id="{D95AD47C-73D0-5019-7D25-D8864C038C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48" t="23374" r="20524" b="22999"/>
          <a:stretch/>
        </p:blipFill>
        <p:spPr bwMode="auto">
          <a:xfrm>
            <a:off x="4289209" y="5938835"/>
            <a:ext cx="705257" cy="61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Anaconda (Python distribution) - Wikipedia">
            <a:extLst>
              <a:ext uri="{FF2B5EF4-FFF2-40B4-BE49-F238E27FC236}">
                <a16:creationId xmlns:a16="http://schemas.microsoft.com/office/drawing/2014/main" id="{BAF3CC61-E0D9-60FB-4BA6-489BD0CAF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6247" y="6028469"/>
            <a:ext cx="896240" cy="445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isual Studio Code — Wikipédia">
            <a:extLst>
              <a:ext uri="{FF2B5EF4-FFF2-40B4-BE49-F238E27FC236}">
                <a16:creationId xmlns:a16="http://schemas.microsoft.com/office/drawing/2014/main" id="{5BBBCC26-6B78-3AA1-64EB-B1ED4A6FF6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1489306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PyCharm — Wikipédia">
            <a:extLst>
              <a:ext uri="{FF2B5EF4-FFF2-40B4-BE49-F238E27FC236}">
                <a16:creationId xmlns:a16="http://schemas.microsoft.com/office/drawing/2014/main" id="{A0C29F73-68C8-74AF-0932-67FAF4BC25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0537" y="1487653"/>
            <a:ext cx="644585" cy="64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72" name="Ellipse 7">
            <a:extLst>
              <a:ext uri="{FF2B5EF4-FFF2-40B4-BE49-F238E27FC236}">
                <a16:creationId xmlns:a16="http://schemas.microsoft.com/office/drawing/2014/main" id="{B8B2A071-9F3E-7C95-1E1E-13E8CBEC381C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066387" y="590275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5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3" name="TextBox 12">
            <a:extLst>
              <a:ext uri="{FF2B5EF4-FFF2-40B4-BE49-F238E27FC236}">
                <a16:creationId xmlns:a16="http://schemas.microsoft.com/office/drawing/2014/main" id="{1E2024D6-6A89-7048-0E7D-7265520DA608}"/>
              </a:ext>
            </a:extLst>
          </p:cNvPr>
          <p:cNvSpPr txBox="1"/>
          <p:nvPr/>
        </p:nvSpPr>
        <p:spPr>
          <a:xfrm>
            <a:off x="2215148" y="6025996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Packages  </a:t>
            </a:r>
          </a:p>
          <a:p>
            <a:r>
              <a:rPr lang="en-US" sz="1600" dirty="0" err="1"/>
              <a:t>Pypi</a:t>
            </a:r>
            <a:r>
              <a:rPr lang="en-US" sz="1600" dirty="0"/>
              <a:t>, Anaconda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8B86446-0342-94E1-09E9-EF31A426921C}"/>
              </a:ext>
            </a:extLst>
          </p:cNvPr>
          <p:cNvGrpSpPr/>
          <p:nvPr/>
        </p:nvGrpSpPr>
        <p:grpSpPr>
          <a:xfrm>
            <a:off x="4576404" y="5113819"/>
            <a:ext cx="1406083" cy="480150"/>
            <a:chOff x="6883676" y="6100833"/>
            <a:chExt cx="1406083" cy="480150"/>
          </a:xfrm>
        </p:grpSpPr>
        <p:pic>
          <p:nvPicPr>
            <p:cNvPr id="75" name="Picture 74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D56334ED-18CE-81CF-0696-CD84CA8C7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76" name="Picture 4" descr="Anaconda (Python distribution) - Wikipedia">
              <a:extLst>
                <a:ext uri="{FF2B5EF4-FFF2-40B4-BE49-F238E27FC236}">
                  <a16:creationId xmlns:a16="http://schemas.microsoft.com/office/drawing/2014/main" id="{05288544-8781-E65F-E38D-9368F8BC04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91D7B7C-AA1E-E2B2-5DB9-A77B2E81BC32}"/>
              </a:ext>
            </a:extLst>
          </p:cNvPr>
          <p:cNvSpPr txBox="1"/>
          <p:nvPr/>
        </p:nvSpPr>
        <p:spPr>
          <a:xfrm>
            <a:off x="6849369" y="4343239"/>
            <a:ext cx="5208241" cy="2308324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llections of modules and functions that extend the capabilities of the Python programming langua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T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 reuse cod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To implement complex functionality without having to write it from scr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ython Package Manag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ip, </a:t>
            </a:r>
            <a:r>
              <a:rPr lang="en-US" dirty="0" err="1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6334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7C1763-3021-2F99-A5B4-EC1570A708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90B864CE-6587-6735-13D8-F6A5F4F34574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76C3825-1412-95BC-3793-1E05C9F62191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7201DF4-457C-3CBB-68CC-E5B2AC7D6119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03F78A-7AEF-2941-238B-5572A48F3B0F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utils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35B277D-C93E-C6C1-4C77-06EF47D27806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D3018DCF-4533-6C3C-0407-35509D589DD9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22D9FAE3-7E41-4EC0-06F3-D1EE30E6627F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77A06665-9B8B-47B9-0C6F-D40888C98AB7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FAE99529-F2F4-4BD1-2314-2699939F839C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tils – Preprocessing dat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B57E31-1852-23B4-9F2E-6E162FA28A8A}"/>
              </a:ext>
            </a:extLst>
          </p:cNvPr>
          <p:cNvSpPr txBox="1"/>
          <p:nvPr/>
        </p:nvSpPr>
        <p:spPr>
          <a:xfrm>
            <a:off x="291979" y="1239144"/>
            <a:ext cx="11501217" cy="53553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   # Preprocess the training, validation, and test set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_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ataPreproces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_raw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sourc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targe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)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_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ataPreproces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_raw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sourc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targe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)</a:t>
            </a:r>
          </a:p>
          <a:p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st_d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ataPreproces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st_raw_datase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sourc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language_target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)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</a:p>
        </p:txBody>
      </p:sp>
      <p:pic>
        <p:nvPicPr>
          <p:cNvPr id="3" name="Picture 6" descr="Python (programming language) - Wikipedia">
            <a:extLst>
              <a:ext uri="{FF2B5EF4-FFF2-40B4-BE49-F238E27FC236}">
                <a16:creationId xmlns:a16="http://schemas.microsoft.com/office/drawing/2014/main" id="{078D2157-91CF-BA20-C210-6E53A0F2C8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989" y="885181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0243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4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69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14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39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64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82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5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48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73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99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17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41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85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10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355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033597-BC4D-D2B4-5F16-EE40E86D6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40AAC7C-2E7F-CE55-0230-4CB22B55962A}"/>
              </a:ext>
            </a:extLst>
          </p:cNvPr>
          <p:cNvGrpSpPr/>
          <p:nvPr/>
        </p:nvGrpSpPr>
        <p:grpSpPr>
          <a:xfrm>
            <a:off x="223614" y="752023"/>
            <a:ext cx="11730527" cy="6011702"/>
            <a:chOff x="223614" y="752023"/>
            <a:chExt cx="11730527" cy="601170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75A3847-51A9-7FDB-E912-679A16A75E01}"/>
                </a:ext>
              </a:extLst>
            </p:cNvPr>
            <p:cNvSpPr/>
            <p:nvPr/>
          </p:nvSpPr>
          <p:spPr>
            <a:xfrm>
              <a:off x="230736" y="752024"/>
              <a:ext cx="11716285" cy="6011701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B4A421B-6178-D7A4-811E-AE1FDE81BCC0}"/>
                </a:ext>
              </a:extLst>
            </p:cNvPr>
            <p:cNvSpPr/>
            <p:nvPr/>
          </p:nvSpPr>
          <p:spPr>
            <a:xfrm>
              <a:off x="223614" y="752024"/>
              <a:ext cx="11730527" cy="46147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0AAF38F-8DB7-52BC-1EBA-71021D0BA841}"/>
                </a:ext>
              </a:extLst>
            </p:cNvPr>
            <p:cNvSpPr/>
            <p:nvPr/>
          </p:nvSpPr>
          <p:spPr>
            <a:xfrm>
              <a:off x="1371628" y="752023"/>
              <a:ext cx="2401371" cy="4614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utils.py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5FE0666-A818-94C5-35CC-C2A73CDA7360}"/>
                </a:ext>
              </a:extLst>
            </p:cNvPr>
            <p:cNvGrpSpPr/>
            <p:nvPr/>
          </p:nvGrpSpPr>
          <p:grpSpPr>
            <a:xfrm>
              <a:off x="455082" y="905852"/>
              <a:ext cx="653739" cy="170917"/>
              <a:chOff x="779821" y="1187864"/>
              <a:chExt cx="653739" cy="17091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AD3D7A9F-77C3-4F3E-AD35-8DB03EC56BDF}"/>
                  </a:ext>
                </a:extLst>
              </p:cNvPr>
              <p:cNvSpPr/>
              <p:nvPr/>
            </p:nvSpPr>
            <p:spPr>
              <a:xfrm>
                <a:off x="779821" y="1196411"/>
                <a:ext cx="162370" cy="162370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C2FA2301-53D5-2120-0353-55273F0BE648}"/>
                  </a:ext>
                </a:extLst>
              </p:cNvPr>
              <p:cNvSpPr/>
              <p:nvPr/>
            </p:nvSpPr>
            <p:spPr>
              <a:xfrm>
                <a:off x="1044736" y="1187864"/>
                <a:ext cx="162370" cy="162370"/>
              </a:xfrm>
              <a:prstGeom prst="ellipse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5BA03C71-C58F-1DF5-660E-35BB19C566D7}"/>
                  </a:ext>
                </a:extLst>
              </p:cNvPr>
              <p:cNvSpPr/>
              <p:nvPr/>
            </p:nvSpPr>
            <p:spPr>
              <a:xfrm>
                <a:off x="1271190" y="1187864"/>
                <a:ext cx="162370" cy="162370"/>
              </a:xfrm>
              <a:prstGeom prst="ellipse">
                <a:avLst/>
              </a:prstGeom>
              <a:solidFill>
                <a:srgbClr val="00B05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2D2C3105-C404-2AEA-93E8-238064299592}"/>
              </a:ext>
            </a:extLst>
          </p:cNvPr>
          <p:cNvSpPr txBox="1">
            <a:spLocks/>
          </p:cNvSpPr>
          <p:nvPr/>
        </p:nvSpPr>
        <p:spPr>
          <a:xfrm>
            <a:off x="-2" y="85724"/>
            <a:ext cx="708446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tils – Preprocessing dat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CA8B33-F608-AC8A-8F53-045D7FD92258}"/>
              </a:ext>
            </a:extLst>
          </p:cNvPr>
          <p:cNvSpPr txBox="1"/>
          <p:nvPr/>
        </p:nvSpPr>
        <p:spPr>
          <a:xfrm>
            <a:off x="291979" y="1239144"/>
            <a:ext cx="11569584" cy="36933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   # Creat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ataLoaders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for the training, validation, and test set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_dataloa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_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config[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huffl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_dataloa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_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huffl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st_dataload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st_d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shuffle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rain_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al_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est_dataload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src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tokenizer_tg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</a:p>
        </p:txBody>
      </p:sp>
      <p:pic>
        <p:nvPicPr>
          <p:cNvPr id="3" name="Picture 6" descr="Python (programming language) - Wikipedia">
            <a:extLst>
              <a:ext uri="{FF2B5EF4-FFF2-40B4-BE49-F238E27FC236}">
                <a16:creationId xmlns:a16="http://schemas.microsoft.com/office/drawing/2014/main" id="{FC7641CA-D9A6-BD4A-30A1-BC8277BBF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989" y="885181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927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4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35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93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3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9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75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89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4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17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31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3915824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F612C8-AA04-C528-371E-0C103CDDC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536964-FE23-BF0A-BFDF-DCEE51D72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building block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D8C00AFE-BEE8-87BC-89EC-195FD1B9B5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745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C81646-F1EB-38B6-4542-65A0341B3E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0309667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4FCA75-9B8B-3269-63C5-724867B33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6951FF-39CA-65A6-EEC8-B91BCA905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building block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C7C0CE5D-0B8D-8B4A-918D-97F8B8AFB5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085AE3DF-E34D-8DCD-D089-11DB50121B6A}"/>
              </a:ext>
            </a:extLst>
          </p:cNvPr>
          <p:cNvSpPr/>
          <p:nvPr/>
        </p:nvSpPr>
        <p:spPr>
          <a:xfrm>
            <a:off x="11353800" y="5692444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40CC13-25A6-B2FC-7D68-71F5AA8E75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Arrow: Left 6">
            <a:extLst>
              <a:ext uri="{FF2B5EF4-FFF2-40B4-BE49-F238E27FC236}">
                <a16:creationId xmlns:a16="http://schemas.microsoft.com/office/drawing/2014/main" id="{18ADDEA4-56C6-05B6-DD87-1DB03E2ECA5A}"/>
              </a:ext>
            </a:extLst>
          </p:cNvPr>
          <p:cNvSpPr/>
          <p:nvPr/>
        </p:nvSpPr>
        <p:spPr>
          <a:xfrm rot="8283348">
            <a:off x="1017662" y="5581441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Left 2">
            <a:extLst>
              <a:ext uri="{FF2B5EF4-FFF2-40B4-BE49-F238E27FC236}">
                <a16:creationId xmlns:a16="http://schemas.microsoft.com/office/drawing/2014/main" id="{2682ACAC-CE04-C138-4BBC-33954C732705}"/>
              </a:ext>
            </a:extLst>
          </p:cNvPr>
          <p:cNvSpPr/>
          <p:nvPr/>
        </p:nvSpPr>
        <p:spPr>
          <a:xfrm rot="13316652" flipH="1">
            <a:off x="3060407" y="5581442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642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3" grpId="0" animBg="1"/>
    </p:bld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9F62C-6C29-7F50-5854-01DF2C455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668E6F3-1D91-B1D5-6EEE-A466017C01B8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Input Embedd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F79999-E047-701A-9A28-5231D28C3E4D}"/>
              </a:ext>
            </a:extLst>
          </p:cNvPr>
          <p:cNvSpPr/>
          <p:nvPr/>
        </p:nvSpPr>
        <p:spPr>
          <a:xfrm>
            <a:off x="241421" y="658813"/>
            <a:ext cx="11716281" cy="576064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41A209-D2BC-7DC3-7DE6-AC5ABE67A154}"/>
              </a:ext>
            </a:extLst>
          </p:cNvPr>
          <p:cNvSpPr/>
          <p:nvPr/>
        </p:nvSpPr>
        <p:spPr>
          <a:xfrm>
            <a:off x="234298" y="658813"/>
            <a:ext cx="11723404" cy="461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11648DC-79C9-EE52-367E-C44AB412DDDF}"/>
              </a:ext>
            </a:extLst>
          </p:cNvPr>
          <p:cNvSpPr/>
          <p:nvPr/>
        </p:nvSpPr>
        <p:spPr>
          <a:xfrm>
            <a:off x="1382312" y="658812"/>
            <a:ext cx="2401371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yer.p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A16B74F-3214-9541-AD6F-1FCC0B428465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24F9EAE-7DA7-0580-7C77-8BE8454D2E9B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C661191-C2A1-D0F2-0317-1CA5B43F7A97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F625F41-5091-5D1F-DDF7-FDBF3CECE162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8A31F07-DF4F-E59A-15E1-8DB182160566}"/>
              </a:ext>
            </a:extLst>
          </p:cNvPr>
          <p:cNvSpPr txBox="1"/>
          <p:nvPr/>
        </p:nvSpPr>
        <p:spPr>
          <a:xfrm>
            <a:off x="295541" y="1204946"/>
            <a:ext cx="11662161" cy="480131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t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putEmbed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odul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upe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.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mbedding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nn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Embed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forward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en-US" b="0" dirty="0">
                <a:solidFill>
                  <a:srgbClr val="FFEE8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 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x: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pply the embedding layer to the input,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and then scales the result by the square root of the embedding dimensionality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embed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x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qr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[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seq_len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, 		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].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2" name="Picture 6" descr="Python (programming language) - Wikipedia">
            <a:extLst>
              <a:ext uri="{FF2B5EF4-FFF2-40B4-BE49-F238E27FC236}">
                <a16:creationId xmlns:a16="http://schemas.microsoft.com/office/drawing/2014/main" id="{B823522F-5678-FD12-34D6-68237C7E39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673" y="778439"/>
            <a:ext cx="259392" cy="28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1578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5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5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4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6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40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85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80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26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1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3DDB13-C2FD-93F8-D8E7-04E478C6A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E306BA7-BB08-581A-60B0-2A3F469611FA}"/>
              </a:ext>
            </a:extLst>
          </p:cNvPr>
          <p:cNvSpPr txBox="1">
            <a:spLocks/>
          </p:cNvSpPr>
          <p:nvPr/>
        </p:nvSpPr>
        <p:spPr>
          <a:xfrm>
            <a:off x="-1" y="85724"/>
            <a:ext cx="8294915" cy="573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Layer – Input Embedd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7B20EA-51D9-7047-7E31-5CD01AE6FD02}"/>
              </a:ext>
            </a:extLst>
          </p:cNvPr>
          <p:cNvSpPr/>
          <p:nvPr/>
        </p:nvSpPr>
        <p:spPr>
          <a:xfrm>
            <a:off x="234297" y="658811"/>
            <a:ext cx="11792860" cy="61317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03DACF-5D99-B21B-13BD-3EA36155D811}"/>
              </a:ext>
            </a:extLst>
          </p:cNvPr>
          <p:cNvSpPr/>
          <p:nvPr/>
        </p:nvSpPr>
        <p:spPr>
          <a:xfrm>
            <a:off x="234297" y="658813"/>
            <a:ext cx="11792859" cy="4614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7B9BD7-CFC8-41C8-A9AA-4E7B3B308C11}"/>
              </a:ext>
            </a:extLst>
          </p:cNvPr>
          <p:cNvSpPr/>
          <p:nvPr/>
        </p:nvSpPr>
        <p:spPr>
          <a:xfrm>
            <a:off x="1382312" y="658812"/>
            <a:ext cx="4651019" cy="4614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b_input_embedding.ipynb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D7F381A-A836-50F1-96E2-EDBB14C91C31}"/>
              </a:ext>
            </a:extLst>
          </p:cNvPr>
          <p:cNvGrpSpPr/>
          <p:nvPr/>
        </p:nvGrpSpPr>
        <p:grpSpPr>
          <a:xfrm>
            <a:off x="465766" y="812641"/>
            <a:ext cx="653739" cy="170917"/>
            <a:chOff x="462204" y="914403"/>
            <a:chExt cx="653739" cy="17091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2C2CFE8-FCD6-13D5-E0DA-D4A0F5D6FAB9}"/>
                </a:ext>
              </a:extLst>
            </p:cNvPr>
            <p:cNvSpPr/>
            <p:nvPr/>
          </p:nvSpPr>
          <p:spPr>
            <a:xfrm>
              <a:off x="462204" y="922950"/>
              <a:ext cx="162370" cy="1623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F14B960-121F-FCED-1E8E-1DE3B4E00970}"/>
                </a:ext>
              </a:extLst>
            </p:cNvPr>
            <p:cNvSpPr/>
            <p:nvPr/>
          </p:nvSpPr>
          <p:spPr>
            <a:xfrm>
              <a:off x="727119" y="914403"/>
              <a:ext cx="162370" cy="16237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2451D17-CF6F-4435-AF16-25A8B185AA63}"/>
                </a:ext>
              </a:extLst>
            </p:cNvPr>
            <p:cNvSpPr/>
            <p:nvPr/>
          </p:nvSpPr>
          <p:spPr>
            <a:xfrm>
              <a:off x="953573" y="914403"/>
              <a:ext cx="162370" cy="16237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0CCCDE2-7E98-98B0-809B-9D72967FA7D3}"/>
              </a:ext>
            </a:extLst>
          </p:cNvPr>
          <p:cNvSpPr txBox="1"/>
          <p:nvPr/>
        </p:nvSpPr>
        <p:spPr>
          <a:xfrm>
            <a:off x="295541" y="1158291"/>
            <a:ext cx="7018831" cy="480131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sy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../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ransformer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layer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putEmbeddin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Initiate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parammeter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0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5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Create an instance of our </a:t>
            </a:r>
            <a:r>
              <a:rPr lang="en-US" b="0" i="1" dirty="0" err="1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InputEmbedding</a:t>
            </a: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 class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embedding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InputEmbed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ocab_siz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d_model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Suppose a batch of 2 sequences	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uences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orch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tensor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[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6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7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8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]])</a:t>
            </a:r>
          </a:p>
          <a:p>
            <a:endParaRPr lang="en-US" dirty="0">
              <a:solidFill>
                <a:srgbClr val="E1EFFF"/>
              </a:solidFill>
              <a:latin typeface="Consolas" panose="020B0609020204030204" pitchFamily="49" charset="0"/>
            </a:endParaRPr>
          </a:p>
          <a:p>
            <a:r>
              <a:rPr lang="en-US" b="0" i="1" dirty="0">
                <a:solidFill>
                  <a:srgbClr val="0088FF"/>
                </a:solidFill>
                <a:effectLst/>
                <a:latin typeface="Consolas" panose="020B0609020204030204" pitchFamily="49" charset="0"/>
              </a:rPr>
              <a:t># Pass our sequences through the input embedding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mbedded_sequences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FF9D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input_embedding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equence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098CE5-2798-C748-E0A2-70E60AA8FF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4916" y="2585162"/>
            <a:ext cx="4712787" cy="2526627"/>
          </a:xfrm>
          <a:prstGeom prst="rect">
            <a:avLst/>
          </a:prstGeom>
          <a:ln>
            <a:solidFill>
              <a:srgbClr val="00994D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4B33937-9DE4-1C8B-E402-51C572E735AC}"/>
              </a:ext>
            </a:extLst>
          </p:cNvPr>
          <p:cNvSpPr txBox="1"/>
          <p:nvPr/>
        </p:nvSpPr>
        <p:spPr>
          <a:xfrm>
            <a:off x="7125617" y="1249310"/>
            <a:ext cx="4901539" cy="120032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mbedded_sequences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mbedded_sequences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FFC60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embedded_sequences</a:t>
            </a:r>
            <a:r>
              <a:rPr lang="en-US" b="0" dirty="0">
                <a:solidFill>
                  <a:srgbClr val="A5FF90"/>
                </a:solidFill>
                <a:effectLst/>
                <a:latin typeface="Consolas" panose="020B0609020204030204" pitchFamily="49" charset="0"/>
              </a:rPr>
              <a:t> shape: </a:t>
            </a:r>
            <a:r>
              <a:rPr lang="en-US" b="0" dirty="0">
                <a:solidFill>
                  <a:srgbClr val="FF628C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b="0" dirty="0">
                <a:solidFill>
                  <a:srgbClr val="92FC79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 dirty="0">
                <a:solidFill>
                  <a:srgbClr val="FB94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mbedded_sequences</a:t>
            </a:r>
            <a:r>
              <a:rPr lang="en-US" b="0" dirty="0" err="1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b="0" dirty="0" err="1">
                <a:solidFill>
                  <a:srgbClr val="9EFFFF"/>
                </a:solidFill>
                <a:effectLst/>
                <a:latin typeface="Consolas" panose="020B0609020204030204" pitchFamily="49" charset="0"/>
              </a:rPr>
              <a:t>shape</a:t>
            </a:r>
            <a:r>
              <a:rPr lang="en-US" b="0" dirty="0">
                <a:solidFill>
                  <a:srgbClr val="E1EFFF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</p:txBody>
      </p:sp>
      <p:pic>
        <p:nvPicPr>
          <p:cNvPr id="14" name="Picture 2" descr="Project Jupyter - Wikipedia">
            <a:extLst>
              <a:ext uri="{FF2B5EF4-FFF2-40B4-BE49-F238E27FC236}">
                <a16:creationId xmlns:a16="http://schemas.microsoft.com/office/drawing/2014/main" id="{3C27F47E-6903-E88C-AAA8-313FCA6905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124" y="693396"/>
            <a:ext cx="353718" cy="40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6095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2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53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4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05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906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107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458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109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41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11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862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313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914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665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1344847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C269BE-9001-6A7B-774A-C5D74C25CA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69425-1582-A761-7DE6-7F03A3422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building block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C47C39DD-4EA9-E66D-28CA-D9401AA69C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809" y="1690688"/>
            <a:ext cx="7543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589FFD5D-29DE-772F-E08F-D7B34DB60A5B}"/>
              </a:ext>
            </a:extLst>
          </p:cNvPr>
          <p:cNvSpPr/>
          <p:nvPr/>
        </p:nvSpPr>
        <p:spPr>
          <a:xfrm>
            <a:off x="11353800" y="5389636"/>
            <a:ext cx="657493" cy="431975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79EF15-0AE6-7361-8899-A402FFA5BE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078" y="2086446"/>
            <a:ext cx="2926197" cy="44064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Arrow: Left 2">
            <a:extLst>
              <a:ext uri="{FF2B5EF4-FFF2-40B4-BE49-F238E27FC236}">
                <a16:creationId xmlns:a16="http://schemas.microsoft.com/office/drawing/2014/main" id="{2ECA02E8-4DC1-4C70-1580-69BA21C8DFCB}"/>
              </a:ext>
            </a:extLst>
          </p:cNvPr>
          <p:cNvSpPr/>
          <p:nvPr/>
        </p:nvSpPr>
        <p:spPr>
          <a:xfrm rot="8283348">
            <a:off x="806028" y="5401170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5705A996-5617-63F1-3832-5E394986EBF2}"/>
              </a:ext>
            </a:extLst>
          </p:cNvPr>
          <p:cNvSpPr/>
          <p:nvPr/>
        </p:nvSpPr>
        <p:spPr>
          <a:xfrm rot="13316652" flipH="1">
            <a:off x="3353428" y="5434708"/>
            <a:ext cx="318896" cy="252798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288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Avenir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mplate-qd-blue-simple" id="{A4FAF9F9-AE7C-46FD-B4D5-0E27E5E1F42F}" vid="{A861747D-0E20-4E7B-BBCA-2D7C86E298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-qd-blue-simple</Template>
  <TotalTime>7584</TotalTime>
  <Words>16566</Words>
  <Application>Microsoft Office PowerPoint</Application>
  <PresentationFormat>Widescreen</PresentationFormat>
  <Paragraphs>2107</Paragraphs>
  <Slides>213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3</vt:i4>
      </vt:variant>
    </vt:vector>
  </HeadingPairs>
  <TitlesOfParts>
    <vt:vector size="223" baseType="lpstr">
      <vt:lpstr>Aptos</vt:lpstr>
      <vt:lpstr>Arial</vt:lpstr>
      <vt:lpstr>Avenir Next LT Pro</vt:lpstr>
      <vt:lpstr>Avenir Next LT Pro Light</vt:lpstr>
      <vt:lpstr>Calibri</vt:lpstr>
      <vt:lpstr>Cambria Math</vt:lpstr>
      <vt:lpstr>Consolas</vt:lpstr>
      <vt:lpstr>Segoe WPC</vt:lpstr>
      <vt:lpstr>Wingdings</vt:lpstr>
      <vt:lpstr>Office Theme</vt:lpstr>
      <vt:lpstr>Part II - Implementing Transformer from Scratch with  Python &amp; PyTorch </vt:lpstr>
      <vt:lpstr>In the first part, …</vt:lpstr>
      <vt:lpstr>What we will obtain</vt:lpstr>
      <vt:lpstr>Software prerequisites for Python project</vt:lpstr>
      <vt:lpstr>Software prerequisites for Python project</vt:lpstr>
      <vt:lpstr>Software prerequisites for Python project</vt:lpstr>
      <vt:lpstr>Software prerequisites for Python project</vt:lpstr>
      <vt:lpstr>Software prerequisites for Python project</vt:lpstr>
      <vt:lpstr>Software prerequisites for Python project</vt:lpstr>
      <vt:lpstr>IDE</vt:lpstr>
      <vt:lpstr>IDE</vt:lpstr>
      <vt:lpstr>Terminal</vt:lpstr>
      <vt:lpstr>Terminal</vt:lpstr>
      <vt:lpstr>Python</vt:lpstr>
      <vt:lpstr>Python</vt:lpstr>
      <vt:lpstr>Python environment</vt:lpstr>
      <vt:lpstr>Python environment</vt:lpstr>
      <vt:lpstr>Python Package Installation</vt:lpstr>
      <vt:lpstr>What I use</vt:lpstr>
      <vt:lpstr>PowerPoint Presentation</vt:lpstr>
      <vt:lpstr>PowerPoint Presentation</vt:lpstr>
      <vt:lpstr>Implementation plan</vt:lpstr>
      <vt:lpstr>Implementation's formula </vt:lpstr>
      <vt:lpstr>PowerPoint Presentation</vt:lpstr>
      <vt:lpstr>Training</vt:lpstr>
      <vt:lpstr>PowerPoint Presentation</vt:lpstr>
      <vt:lpstr>Training steps </vt:lpstr>
      <vt:lpstr>Training steps </vt:lpstr>
      <vt:lpstr>Preprocessing data</vt:lpstr>
      <vt:lpstr>Create transformer model</vt:lpstr>
      <vt:lpstr>Training loop</vt:lpstr>
      <vt:lpstr>Put it all together</vt:lpstr>
      <vt:lpstr>PowerPoint Presentation</vt:lpstr>
      <vt:lpstr>Source code structure</vt:lpstr>
      <vt:lpstr>Transformer classes</vt:lpstr>
      <vt:lpstr>Transformer classes</vt:lpstr>
      <vt:lpstr>Transformer classes</vt:lpstr>
      <vt:lpstr>Transformer functions</vt:lpstr>
      <vt:lpstr>Transformer functions</vt:lpstr>
      <vt:lpstr>Transformer functions</vt:lpstr>
      <vt:lpstr>Transformer functions</vt:lpstr>
      <vt:lpstr>PowerPoint Presentation</vt:lpstr>
      <vt:lpstr>PowerPoint Presentation</vt:lpstr>
      <vt:lpstr>Data preparation function/class</vt:lpstr>
      <vt:lpstr>PowerPoint Presentation</vt:lpstr>
      <vt:lpstr>Data preparation function/class</vt:lpstr>
      <vt:lpstr>PowerPoint Presentation</vt:lpstr>
      <vt:lpstr>PowerPoint Presentation</vt:lpstr>
      <vt:lpstr>PowerPoint Presentation</vt:lpstr>
      <vt:lpstr>Data preparation function/class</vt:lpstr>
      <vt:lpstr>PowerPoint Presentation</vt:lpstr>
      <vt:lpstr>PowerPoint Presentation</vt:lpstr>
      <vt:lpstr>PowerPoint Presentation</vt:lpstr>
      <vt:lpstr>Data preparation function/cla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 preparation function/cla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 preparation function/cla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 preparation function/class</vt:lpstr>
      <vt:lpstr>PowerPoint Presentation</vt:lpstr>
      <vt:lpstr>PowerPoint Presentation</vt:lpstr>
      <vt:lpstr>PowerPoint Presentation</vt:lpstr>
      <vt:lpstr>PowerPoint Presentation</vt:lpstr>
      <vt:lpstr>Transformer building block</vt:lpstr>
      <vt:lpstr>PowerPoint Presentation</vt:lpstr>
      <vt:lpstr>Transformer building block</vt:lpstr>
      <vt:lpstr>PowerPoint Presentation</vt:lpstr>
      <vt:lpstr>PowerPoint Presentation</vt:lpstr>
      <vt:lpstr>PowerPoint Presentation</vt:lpstr>
      <vt:lpstr>Transformer building block</vt:lpstr>
      <vt:lpstr>PowerPoint Presentation</vt:lpstr>
      <vt:lpstr>PowerPoint Presentation</vt:lpstr>
      <vt:lpstr>PowerPoint Presentation</vt:lpstr>
      <vt:lpstr>PowerPoint Presentation</vt:lpstr>
      <vt:lpstr>Transformer building bloc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ransformer building block</vt:lpstr>
      <vt:lpstr>PowerPoint Presentation</vt:lpstr>
      <vt:lpstr>PowerPoint Presentation</vt:lpstr>
      <vt:lpstr>PowerPoint Presentation</vt:lpstr>
      <vt:lpstr>Transformer building block</vt:lpstr>
      <vt:lpstr>PowerPoint Presentation</vt:lpstr>
      <vt:lpstr>PowerPoint Presentation</vt:lpstr>
      <vt:lpstr>PowerPoint Presentation</vt:lpstr>
      <vt:lpstr>Transformer building block</vt:lpstr>
      <vt:lpstr>PowerPoint Presentation</vt:lpstr>
      <vt:lpstr>PowerPoint Presentation</vt:lpstr>
      <vt:lpstr>PowerPoint Presentation</vt:lpstr>
      <vt:lpstr>Transformer building block</vt:lpstr>
      <vt:lpstr>PowerPoint Presentation</vt:lpstr>
      <vt:lpstr>PowerPoint Presentation</vt:lpstr>
      <vt:lpstr>PowerPoint Presentation</vt:lpstr>
      <vt:lpstr>Class/function to create transformer</vt:lpstr>
      <vt:lpstr>PowerPoint Presentation</vt:lpstr>
      <vt:lpstr>Class/function to create transformer</vt:lpstr>
      <vt:lpstr>PowerPoint Presentation</vt:lpstr>
      <vt:lpstr>PowerPoint Presentation</vt:lpstr>
      <vt:lpstr>PowerPoint Presentation</vt:lpstr>
      <vt:lpstr>Class/function to create transform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lass/function to create transformer</vt:lpstr>
      <vt:lpstr>PowerPoint Presentation</vt:lpstr>
      <vt:lpstr>PowerPoint Presentation</vt:lpstr>
      <vt:lpstr>PowerPoint Presentation</vt:lpstr>
      <vt:lpstr>Class/function to create transform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lass/function to create transformer</vt:lpstr>
      <vt:lpstr>PowerPoint Presentation</vt:lpstr>
      <vt:lpstr>PowerPoint Presentation</vt:lpstr>
      <vt:lpstr>PowerPoint Presentation</vt:lpstr>
      <vt:lpstr>Class/function to create transform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ngine functions for training</vt:lpstr>
      <vt:lpstr>PowerPoint Presentation</vt:lpstr>
      <vt:lpstr>Engine functions for trai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ngine functions for trai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ngine functions for trai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ference</vt:lpstr>
      <vt:lpstr>Engine function for infere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 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lementing Transformer with  Python &amp; PyTorch   </dc:title>
  <dc:creator>Tan Nguyen Duong</dc:creator>
  <cp:lastModifiedBy>Quang DUONG</cp:lastModifiedBy>
  <cp:revision>97</cp:revision>
  <dcterms:created xsi:type="dcterms:W3CDTF">2024-02-20T20:54:33Z</dcterms:created>
  <dcterms:modified xsi:type="dcterms:W3CDTF">2024-06-05T14:36:57Z</dcterms:modified>
</cp:coreProperties>
</file>